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359" r:id="rId2"/>
    <p:sldId id="463" r:id="rId3"/>
    <p:sldId id="464" r:id="rId4"/>
    <p:sldId id="466" r:id="rId5"/>
    <p:sldId id="467" r:id="rId6"/>
    <p:sldId id="468" r:id="rId7"/>
    <p:sldId id="472" r:id="rId8"/>
    <p:sldId id="473" r:id="rId9"/>
    <p:sldId id="474" r:id="rId10"/>
    <p:sldId id="434" r:id="rId11"/>
    <p:sldId id="441" r:id="rId12"/>
    <p:sldId id="469" r:id="rId13"/>
    <p:sldId id="470" r:id="rId14"/>
  </p:sldIdLst>
  <p:sldSz cx="12192000" cy="6858000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E996"/>
    <a:srgbClr val="9DC3E6"/>
    <a:srgbClr val="CEE1F2"/>
    <a:srgbClr val="97DAE8"/>
    <a:srgbClr val="FFD966"/>
    <a:srgbClr val="F4B183"/>
    <a:srgbClr val="8FAADC"/>
    <a:srgbClr val="A9D1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71" autoAdjust="0"/>
    <p:restoredTop sz="84795" autoAdjust="0"/>
  </p:normalViewPr>
  <p:slideViewPr>
    <p:cSldViewPr snapToGrid="0">
      <p:cViewPr varScale="1">
        <p:scale>
          <a:sx n="113" d="100"/>
          <a:sy n="113" d="100"/>
        </p:scale>
        <p:origin x="-528" y="-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59" cy="495427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5427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B89041E1-745A-4C03-A74C-F399652A8552}" type="datetimeFigureOut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33488"/>
            <a:ext cx="5927725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78824"/>
            <a:ext cx="2945659" cy="495426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378824"/>
            <a:ext cx="2945659" cy="495426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AADA795E-F810-4CA6-BA04-1A5F1EBC861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2486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A795E-F810-4CA6-BA04-1A5F1EBC861D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7097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7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1900"/>
            <a:ext cx="5915025" cy="3327400"/>
          </a:xfrm>
          <a:prstGeom prst="rect">
            <a:avLst/>
          </a:prstGeom>
        </p:spPr>
      </p:sp>
      <p:sp>
        <p:nvSpPr>
          <p:cNvPr id="1398" name="PlaceHolder 2"/>
          <p:cNvSpPr>
            <a:spLocks noGrp="1"/>
          </p:cNvSpPr>
          <p:nvPr>
            <p:ph type="body"/>
          </p:nvPr>
        </p:nvSpPr>
        <p:spPr>
          <a:xfrm>
            <a:off x="680764" y="4776482"/>
            <a:ext cx="5435640" cy="10763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endParaRPr lang="en-US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99" name="CustomShape 3"/>
          <p:cNvSpPr/>
          <p:nvPr/>
        </p:nvSpPr>
        <p:spPr>
          <a:xfrm>
            <a:off x="3849842" y="9429840"/>
            <a:ext cx="2946241" cy="49680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767" tIns="45704" rIns="91767" bIns="45704" anchor="b">
            <a:noAutofit/>
          </a:bodyPr>
          <a:lstStyle/>
          <a:p>
            <a:pPr defTabSz="914277">
              <a:defRPr/>
            </a:pPr>
            <a:fld id="{D24E2B82-C7F1-4346-8E07-F4D7D37923D4}" type="slidenum">
              <a:rPr lang="ru-RU" sz="1200" spc="-1">
                <a:solidFill>
                  <a:srgbClr val="000000"/>
                </a:solidFill>
                <a:latin typeface="Calibri"/>
              </a:rPr>
              <a:pPr defTabSz="914277">
                <a:defRPr/>
              </a:pPr>
              <a:t>2</a:t>
            </a:fld>
            <a:endParaRPr lang="en-US" sz="1200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00" name="CustomShape 4"/>
          <p:cNvSpPr/>
          <p:nvPr/>
        </p:nvSpPr>
        <p:spPr>
          <a:xfrm>
            <a:off x="0" y="9429840"/>
            <a:ext cx="2946241" cy="49680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1932243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A795E-F810-4CA6-BA04-1A5F1EBC861D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5116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99ADD-185F-42D9-9D8C-370B48B85069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08032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9C872-0321-4A09-BBFA-F7683CD29EE3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748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95E1AB-8084-434C-9CC0-BAFEA85DEBC4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13044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AAD4F-FB3D-4709-98EF-FAF361E4F2B4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30850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84A28-FCEB-46CB-9F41-12B8AF294F3D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923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576C6-428F-4CBA-8103-DC916F8AB83E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8758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CD26D1-DF70-469F-ADEA-54AEE62FA844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5686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256E7-D0E7-4070-9422-0B15C811F3A1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5018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A05C6-BBD0-4086-BF60-4049C555D08C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0714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8AADA-A51C-431C-B090-C4C78C3ABEAB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73829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C7022-B172-45B7-A56D-459C53D5ECE0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98004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455135-7D71-464F-BD86-0929679E2025}" type="datetime1">
              <a:rPr lang="ru-RU" smtClean="0"/>
              <a:pPr/>
              <a:t>03.09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716BDD-ECB7-4C86-83A2-DDBB799AEF9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444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jpe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037368" y="311870"/>
            <a:ext cx="7476903" cy="455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ru-RU" sz="2000" b="1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МИНИСТЕРСТВО ПРИРОДНЫХ РЕСУРСОВ И ЭКОЛОГИИ</a:t>
            </a:r>
          </a:p>
          <a:p>
            <a:pPr>
              <a:defRPr/>
            </a:pPr>
            <a:r>
              <a:rPr lang="ru-RU" sz="2000" b="1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ТВЕРСКОЙ </a:t>
            </a:r>
            <a:r>
              <a:rPr lang="ru-RU" sz="2000" b="1" dirty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ОБЛАСТИ</a:t>
            </a:r>
            <a:endParaRPr lang="en-US" sz="20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2000" b="1" dirty="0">
              <a:solidFill>
                <a:srgbClr val="A88000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76295" y="1792353"/>
            <a:ext cx="1078718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latin typeface="Times New Roman" panose="02020603050405020304" pitchFamily="18" charset="0"/>
              </a:rPr>
              <a:t>О </a:t>
            </a:r>
            <a:r>
              <a:rPr lang="ru-RU" sz="3600" b="1" dirty="0">
                <a:latin typeface="Times New Roman" panose="02020603050405020304" pitchFamily="18" charset="0"/>
              </a:rPr>
              <a:t>ходе выполнения </a:t>
            </a:r>
            <a:r>
              <a:rPr lang="ru-RU" sz="3600" b="1" dirty="0" smtClean="0">
                <a:latin typeface="Times New Roman" panose="02020603050405020304" pitchFamily="18" charset="0"/>
              </a:rPr>
              <a:t>работ</a:t>
            </a:r>
            <a:br>
              <a:rPr lang="ru-RU" sz="3600" b="1" dirty="0" smtClean="0">
                <a:latin typeface="Times New Roman" panose="02020603050405020304" pitchFamily="18" charset="0"/>
              </a:rPr>
            </a:br>
            <a:r>
              <a:rPr lang="ru-RU" sz="3600" b="1" dirty="0" smtClean="0">
                <a:latin typeface="Times New Roman" panose="02020603050405020304" pitchFamily="18" charset="0"/>
              </a:rPr>
              <a:t> по рекультивации </a:t>
            </a:r>
            <a:r>
              <a:rPr lang="ru-RU" sz="3600" b="1" dirty="0">
                <a:latin typeface="Times New Roman" panose="02020603050405020304" pitchFamily="18" charset="0"/>
              </a:rPr>
              <a:t>свалок в рамках реализации</a:t>
            </a:r>
          </a:p>
          <a:p>
            <a:pPr algn="ctr"/>
            <a:r>
              <a:rPr lang="ru-RU" sz="3600" b="1" dirty="0">
                <a:latin typeface="Times New Roman" panose="02020603050405020304" pitchFamily="18" charset="0"/>
              </a:rPr>
              <a:t>федеральных проектов </a:t>
            </a:r>
            <a:r>
              <a:rPr lang="ru-RU" sz="3600" b="1" dirty="0" smtClean="0">
                <a:latin typeface="Times New Roman" panose="02020603050405020304" pitchFamily="18" charset="0"/>
              </a:rPr>
              <a:t>«Чистая страна»,</a:t>
            </a:r>
            <a:endParaRPr lang="ru-RU" sz="3600" b="1" dirty="0">
              <a:latin typeface="Times New Roman" panose="02020603050405020304" pitchFamily="18" charset="0"/>
            </a:endParaRPr>
          </a:p>
          <a:p>
            <a:pPr algn="ctr"/>
            <a:r>
              <a:rPr lang="ru-RU" sz="3600" b="1" dirty="0">
                <a:latin typeface="Times New Roman" panose="02020603050405020304" pitchFamily="18" charset="0"/>
              </a:rPr>
              <a:t>«Оздоровление Волги</a:t>
            </a:r>
            <a:r>
              <a:rPr lang="ru-RU" sz="3600" b="1" dirty="0" smtClean="0">
                <a:latin typeface="Times New Roman" panose="02020603050405020304" pitchFamily="18" charset="0"/>
              </a:rPr>
              <a:t>» </a:t>
            </a:r>
            <a:r>
              <a:rPr lang="ru-RU" sz="3600" b="1" dirty="0">
                <a:latin typeface="Times New Roman" panose="02020603050405020304" pitchFamily="18" charset="0"/>
              </a:rPr>
              <a:t>национального проекта</a:t>
            </a:r>
          </a:p>
          <a:p>
            <a:pPr algn="ctr"/>
            <a:r>
              <a:rPr lang="ru-RU" sz="3600" b="1" dirty="0">
                <a:latin typeface="Times New Roman" panose="02020603050405020304" pitchFamily="18" charset="0"/>
              </a:rPr>
              <a:t>«Экология»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2933209" y="5848984"/>
            <a:ext cx="667336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г. </a:t>
            </a:r>
            <a:r>
              <a:rPr lang="ru-RU" sz="1600" b="1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Тверь</a:t>
            </a:r>
            <a:endParaRPr lang="ru-RU" sz="1600" b="1" dirty="0">
              <a:solidFill>
                <a:srgbClr val="A88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09 </a:t>
            </a:r>
            <a:r>
              <a:rPr lang="ru-RU" sz="1600" b="1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сентября 2020 </a:t>
            </a:r>
            <a:r>
              <a:rPr lang="ru-RU" sz="1600" b="1" dirty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  <p:pic>
        <p:nvPicPr>
          <p:cNvPr id="6" name="Рисунок 1">
            <a:extLst>
              <a:ext uri="{FF2B5EF4-FFF2-40B4-BE49-F238E27FC236}">
                <a16:creationId xmlns="" xmlns:a16="http://schemas.microsoft.com/office/drawing/2014/main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26795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Содержимое 11"/>
          <p:cNvSpPr>
            <a:spLocks noGrp="1"/>
          </p:cNvSpPr>
          <p:nvPr>
            <p:ph idx="1"/>
          </p:nvPr>
        </p:nvSpPr>
        <p:spPr>
          <a:xfrm>
            <a:off x="9353718" y="5255782"/>
            <a:ext cx="540633" cy="246495"/>
          </a:xfrm>
        </p:spPr>
        <p:txBody>
          <a:bodyPr>
            <a:normAutofit fontScale="85000" lnSpcReduction="20000"/>
          </a:bodyPr>
          <a:lstStyle/>
          <a:p>
            <a:pPr marL="0" indent="0">
              <a:spcBef>
                <a:spcPct val="0"/>
              </a:spcBef>
              <a:buNone/>
              <a:defRPr/>
            </a:pPr>
            <a:endParaRPr lang="ru-RU" sz="1537" b="1" dirty="0">
              <a:latin typeface="Times New Roman" pitchFamily="18" charset="0"/>
            </a:endParaRPr>
          </a:p>
          <a:p>
            <a:pPr>
              <a:spcBef>
                <a:spcPct val="0"/>
              </a:spcBef>
              <a:defRPr/>
            </a:pPr>
            <a:endParaRPr lang="ru-RU" sz="1537" b="1" dirty="0">
              <a:latin typeface="Times New Roman" pitchFamily="18" charset="0"/>
            </a:endParaRPr>
          </a:p>
          <a:p>
            <a:pPr>
              <a:spcBef>
                <a:spcPct val="0"/>
              </a:spcBef>
              <a:defRPr/>
            </a:pPr>
            <a:endParaRPr lang="ru-RU" sz="1537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749634"/>
              </p:ext>
            </p:extLst>
          </p:nvPr>
        </p:nvGraphicFramePr>
        <p:xfrm>
          <a:off x="1122532" y="1133949"/>
          <a:ext cx="10505346" cy="465496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545401"/>
                <a:gridCol w="46497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789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789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5235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549784"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роекта</a:t>
                      </a: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ая стоимость</a:t>
                      </a:r>
                      <a:b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а, </a:t>
                      </a:r>
                      <a:b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рублей</a:t>
                      </a:r>
                    </a:p>
                  </a:txBody>
                  <a:tcPr marL="91448" marR="91448" marT="45721" marB="4572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обходимые финансовые средства</a:t>
                      </a:r>
                    </a:p>
                  </a:txBody>
                  <a:tcPr marL="91448" marR="91448" marT="45721" marB="4572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5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21" marB="4572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497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Б, </a:t>
                      </a:r>
                      <a:br>
                        <a:rPr lang="ru-RU" sz="2000" b="1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000" b="1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рублей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21" marB="4572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, </a:t>
                      </a:r>
                      <a:b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рублей</a:t>
                      </a:r>
                    </a:p>
                  </a:txBody>
                  <a:tcPr marL="91448" marR="91448" marT="45721" marB="4572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573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екультивация свалки </a:t>
                      </a:r>
                      <a:r>
                        <a:rPr lang="ru-RU" sz="20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 </a:t>
                      </a:r>
                      <a:r>
                        <a:rPr lang="ru-RU" sz="20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имры</a:t>
                      </a:r>
                      <a:endParaRPr lang="ru-RU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 959,55</a:t>
                      </a: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 166,02</a:t>
                      </a: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 793,53</a:t>
                      </a: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831854">
                <a:tc>
                  <a:txBody>
                    <a:bodyPr/>
                    <a:lstStyle/>
                    <a:p>
                      <a:pPr algn="l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18" marB="4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екультивация свалки </a:t>
                      </a:r>
                      <a:r>
                        <a:rPr lang="ru-RU" sz="20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 г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20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лидово</a:t>
                      </a:r>
                      <a:endParaRPr lang="ru-RU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18" marB="4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7 814,09</a:t>
                      </a:r>
                    </a:p>
                  </a:txBody>
                  <a:tcPr marL="91448" marR="91448" marT="45718" marB="4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4 563,84</a:t>
                      </a: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 250,25</a:t>
                      </a: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31854">
                <a:tc>
                  <a:txBody>
                    <a:bodyPr/>
                    <a:lstStyle/>
                    <a:p>
                      <a:pPr algn="l"/>
                      <a:r>
                        <a:rPr lang="ru-RU" sz="2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1448" marR="91448" marT="45718" marB="4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культиваци</a:t>
                      </a:r>
                      <a:r>
                        <a:rPr lang="ru-RU" sz="2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 свалки на 13 км </a:t>
                      </a:r>
                      <a:br>
                        <a:rPr lang="ru-RU" sz="2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000" baseline="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жецкого</a:t>
                      </a:r>
                      <a:r>
                        <a:rPr lang="ru-RU" sz="2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шоссе Калининского района</a:t>
                      </a:r>
                    </a:p>
                  </a:txBody>
                  <a:tcPr marL="91448" marR="91448" marT="45718" marB="4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151 687,59</a:t>
                      </a:r>
                      <a:endParaRPr lang="ru-RU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18" marB="4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</a:t>
                      </a:r>
                      <a:r>
                        <a:rPr lang="ru-RU" sz="2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057 136,96</a:t>
                      </a:r>
                      <a:endParaRPr lang="ru-RU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 550,63</a:t>
                      </a:r>
                      <a:endParaRPr lang="ru-RU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31854">
                <a:tc>
                  <a:txBody>
                    <a:bodyPr/>
                    <a:lstStyle/>
                    <a:p>
                      <a:pPr algn="ctr"/>
                      <a:endParaRPr lang="ru-RU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18" marB="4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: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18" marB="4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464 461,23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18" marB="4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319 866,82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 594,41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48" marR="91448"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TextBox 13"/>
          <p:cNvSpPr txBox="1">
            <a:spLocks noChangeArrowheads="1"/>
          </p:cNvSpPr>
          <p:nvPr/>
        </p:nvSpPr>
        <p:spPr bwMode="auto">
          <a:xfrm>
            <a:off x="1000015" y="403122"/>
            <a:ext cx="10921052" cy="400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8" tIns="45719" rIns="91438" bIns="45719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ФИНАНСИРОВАНИЕ РЕКУЛЬТИВАЦИИ СВАЛОК</a:t>
            </a:r>
            <a:endParaRPr lang="ru-RU" altLang="ru-RU" sz="2000" b="1" dirty="0">
              <a:solidFill>
                <a:srgbClr val="A88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Рисунок 1">
            <a:extLst>
              <a:ext uri="{FF2B5EF4-FFF2-40B4-BE49-F238E27FC236}">
                <a16:creationId xmlns="" xmlns:a16="http://schemas.microsoft.com/office/drawing/2014/main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  <p:sp>
        <p:nvSpPr>
          <p:cNvPr id="1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87614" y="6492876"/>
            <a:ext cx="404388" cy="365125"/>
          </a:xfrm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/>
            <a:fld id="{3E716BDD-ECB7-4C86-83A2-DDBB799AEF99}" type="slidenum">
              <a:rPr lang="ru-RU"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10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4621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4" descr="data:image/png;base64,%20iVBORw0KGgoAAAANSUhEUgAAACkAAAArCAYAAADlqKH9AAAAAXNSR0IArs4c6QAAAARnQU1BAACxjwv8YQUAAAAJcEhZcwAADsMAAA7DAcdvqGQAAAtRSURBVFhHvVl7cB1VGf/OPu4r9yZpXs2zTV80aUmQ0lLow6KU6vCy2qaMUgwGKCKMgv84jo/ojMPojAxjh2G0tqBYFaUMUwbREWewaC0Sik2hLX0kTaFtyDs3yU3uY3ePv+/s3nBvk7RpQH/t5t49u3u+3/le5/v2CrpsSLFt2w4j3u8vkU5qnSRtrSaoTkqqFiQLcO7XhIxLoh4p6DRJaiUSr/lMe7+e6/Tv2HG/xZO4c00P0yYpQW7rndsj2lhojSa0r0LKBl3X/Y7D8i4mU5CGVTiWM0LkvIw7fx7W4y1PPvdQDBenRXZaJBsangiHpH+NlNr3dc28XpJNEqpLI/O7EIIESLF4x3HUeRpCaPirkbSsv2m6/JEZt1p2vHT/qHt1alyS5NbNO+Zpjv5dTdeb+FxKR41nIhjyUU7YT7GROMXHUlQ+p4ACQR+9d7qXknEL5LwbPTBZx8FChdieTNFP/7C36X3v0qTQvc8JWLeu2Vh9zV1rDKn/TjfMDVLaGM22DpuaBa6/pY5u2bSMQuEAdbT10LKV89WYxPUzOM/Upgt+TpChGSt1zV5TV3vz4c9vuaZz3759k5qf9T8B27b9wpxbUHGbqWnPaoaxxHHY1yfCHzBI1zUKQJM2CM27YjaFcnw0qyhHmbxqfhEFg2aWO2TCxry65luhCfPZjiPVGxoa/jip0iaQbG5u1hK9+i1CN7frulk2KUEINQyN6pbNodnleTQ2mlBEBLj4/CaVlOa6SseREwlQeVWBS1YFWTZsJwWN+qpx8cmQjN7EAepdGscEkiffrrxeaPqjhm5W2nbKG82GbUsqKArTsuvmK5K25fppT/cQ5c0KKn/koIn2x6h4di6tXV9D+YVhsifxZwYT1Q3/PHjfTxo37lzhDY8ji+Tdn3uqyhDiB3ig1rKT3uhEsGlZaFFJRPmWabpWOtJ6lhYvrVDng32jKnBq6srVgjgNXeDSWbAhDxmt3tFFc9PtO8u9YYVxko2NTwcsw7nX0H3rLSvhjU4FCSLwR5icNRYM+an9ZDfMnqKFNaU0PBSnNw+0UyQ/REuuqqLenhEaio6RNiGAsuE4STJ14+aUIb7S2Ngc8IY/JOlE7asNzbzXdfKLLBlgUclUivp7Y/BNnaKDo3TkP+/Tiuvn0wBMvP/V49CKoGvXLKRUyqbTWADfoyHILgZXtiBdaNtkrLLeHfVS0CObHwsmtOC3DcN/A/vHdMDkLPhitH+UeruHqRjBEhtJUPvxD2gWXOG6Ty5C9Jt0+M0Oeuv1dkombLiG9/BFwETBIw95NLVo6Z2vHj26x1JL65V5NSSMLZZ9KTO70DSNBvpidKilA3mxl3q7ojQWcyO8tr6Srlo+lzrPDtIrLx2GX/ZRODc4LYJp2DC7EPoXQ3JsEZ/rzc2vGoNd0fuQsD/Lu8B0wAI5eJLxFNkwp207SotsrcG+Eeo41UNDQ2NUWByB2XUQHlD+ejlEkf6CUqbObWx45IBAJEWSJr2J7H/FZFvepcDaq6ouUhrk9MOBxGbmqbrOD1LrwTPQ9LAb3ZcB3sksxzrmS9FKcdemncs1of8b4i7u1VOAtcf79qzCHGXWUMikODQ8HI0rXx3Ffn6pgJkKUgoY3l4pGjfvelgI43F3b54ZWJtMlnOmhqh2kOzZKnw+cd+ePuCXPM/XNVhnORKQNzwzKHIwJ/NhgvzJwfVRCLpwMJ99LYo7WcNa+LjwkXllwLNODYpsrRKn3vDk4JJMVeD4n/5+ucfMFMEsqUo0btoVB12/N5oFrlqKy3Jp9Q2LlYoO7DtBqz+9mAwEAguFaHVP2vfYN9nMakvyrvPXZMKilv1t1HlukHw+Q113NQ7/hb/x9akAR0zo9bUbf8gyvLFxsEAuu27dvEzViTEk65HhBNXWVdKZ9l6aXzObcvNC1IYdhiuhuQuLsYhTKDDKqKA4TD1dQ0qDi5eWUzDHT2NjSWybC2jVjYtpLurMRbVltPjKcqpeUEJ92Ntjw6yrCTQ4lbF3I8onAWuKtVZWWaAIn3j7PIqFCrXyOASSMqFEurFU6cYCRmNxDLt2tVIWWUloCHL5vgDqydyCoJr4ry8epr2/b8HxBh1GHl1UW4oAmSp4nSRso/V7Z+PgHaQCfcpCPGz6dOS8MVQyw9BAsTKva0931W5UM5P0SBrZZ+n7+PEUGptkIkUJ5FPeqSJ5QVXhTwoh+tEiO2iCsidkM3GxyqtnnDjaSQtQgqmJcKvaPNQj7CeZz2bP4+rUBRNUB76z+bliz8kJuHPixny0HCw3G7hfijOIAHGMFZEJ1lZO2ActGli1TaeOddKS+gplNoZqWdUX7/CQPc0FZxDCz0ewK92+ZTltuXsV3dG0im5tWEYV1QVUiAL6QpLMS5B9TJO6aEEq9oZd8GShSFA1Wu0nuxAY+aolcOFqRIHnzJx3SsJ8m+vDuimoaHaESpA1uLwrQBGSj+K4ENU7+3s2UFSDH8xt/xMPZ+UANgE3TpxOjr/DAVOJsQ93FQZ/TwtOI0sPfF/mgCdfPYfx9HPp5gwJW31mQqIL1KW1XysO+tscaR1x3y64D3MVw1rkKoYJx5B63gXZ0yd7UOjaKp20neiik0c6VcWteLML8H8+wcGilVtggKfmHpDbh0HUofzccRz9SD1sFd3UKDefLcftL0/GjzEfp7UwEGrXN8yql9Gc/LCu+27iIoNvCsGx666egxzYjZWjKEY1w1HY38v5LKHeVLAwrraHQLKyulAJ4WgtKc1D74PCABoKoR8P5wZgRuaNhg0+fuTQWZVDR9AH9aK7LIUrcYIfRNvBbYYNJSjiuoksYz127IOOf/G66cubfrUUdt+HeQrZL7jBX3p1Fb2HqpsT+mok4L7uEVUvHnrjjErWc+YVon9x1ORjo0lFyECXyO0tK0NnLQIcDKxdLn65/wlH/B5xqQrnAaQ2LvXajndhk+hRLsZahMK6rWTyU7998YGj2KOwyrBss4ec3T5f4BtSJlQV3fKPNiUsDxrKgWZbTrbTJ1bMJdOvK1K8lXWej1IxopJ7mAE0ZVymXQgm6AJxigVs/NIK1RfFMEfNlWX05+ffUppjE6brTl1DVrHsXxvRQLs65z+trXutK2tu68EtGzRdz1e1IP6xBPZBzmtlVfkoYJP0DrrCFAgWwawcle3wzQ+wJ7Mcdn72u8yDLzCJ9GFB+6WYKxcJnPv0frgSj3NAMTQQtO3UKRj0e7/5S9M5Hht/91JRvb4/5DMMTHwjNJjmqPyJSQyjZ2mHSfiTNdmHybuhybNn+tDnYFFe4Fx48BzjB+4Z6B9Rbza42HgfNYBLHvfy7fgC2ZYtnUcTeuTlo0efU5W4d9lFY8PTpdDiDtMI3Jb5goAjXhWzEJJeMe+17A5uWsqa5pLgbZehpysmgKfQNBNmTuyRTvLB3S98rdu9cgFJhtvziF38yoNfffy/gOwC10q0wHL37X7hnlZvWGHCq7bWY3s7n19y8DTsvBoPzppJB3m5YD+07NS70rG/ufuF+173hsfhhlMGYDyZEHmvONJ5yLKTHTzB/xIqUBwmaD24oP7c373hLEzpTPyesuNwxbXC0J9Ay3uNzRH0sYJFY2+W9mvw8Iefef6eQ6wg91o2piSZRtMXds61Ne1biJ4HhKZaTO/KzMHJmt/14Nvjhun87Kln7z3vXZoUlyTJ2Lr1mRwjnljlSPEdROA63plnQtbdSdSzf0Le/vGwDB/cs+eOMe/ylJgWSRdSNDXtCjuDziopjPsh6zPYIUJuNTOplTy4KQppJ4qPl6Sd+mVkIHXwyX0f8+842fB+ETvnLxFBa610xFqM1Ukh5gkpC/kXMSEcNDuiB4prA8NWfH/NSFkH9LKZ/CJG9F/hsl2lNM0YZQAAAABJRU5ErkJggg=="/>
          <p:cNvSpPr>
            <a:spLocks noChangeAspect="1" noChangeArrowheads="1"/>
          </p:cNvSpPr>
          <p:nvPr/>
        </p:nvSpPr>
        <p:spPr bwMode="auto">
          <a:xfrm>
            <a:off x="486833" y="10584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33444" y="6393399"/>
            <a:ext cx="339351" cy="192021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40765" y="6098631"/>
            <a:ext cx="339351" cy="1920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272795" y="6015089"/>
            <a:ext cx="3662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язательные регламентные сроки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317334" y="6303480"/>
            <a:ext cx="38150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ыполнение работ по рекультивации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908388"/>
              </p:ext>
            </p:extLst>
          </p:nvPr>
        </p:nvGraphicFramePr>
        <p:xfrm>
          <a:off x="1109822" y="1144360"/>
          <a:ext cx="10736891" cy="4884479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4897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64025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0165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29938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26395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0165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8280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73377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27337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24509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263951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22624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254524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254524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216816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226243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263951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329938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298878">
                  <a:extLst>
                    <a:ext uri="{9D8B030D-6E8A-4147-A177-3AD203B41FA5}">
                      <a16:colId xmlns="" xmlns:a16="http://schemas.microsoft.com/office/drawing/2014/main" val="20018"/>
                    </a:ext>
                  </a:extLst>
                </a:gridCol>
              </a:tblGrid>
              <a:tr h="347779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пы работ</a:t>
                      </a:r>
                      <a:endParaRPr lang="ru-RU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lang="ru-RU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21 год</a:t>
                      </a:r>
                      <a:endParaRPr kumimoji="0" lang="ru-RU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7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7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7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87110"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7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7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август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ентябр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октябр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ноябр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декабр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январ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феврал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юн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юл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густ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нтябр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тябр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оябр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абрь</a:t>
                      </a:r>
                    </a:p>
                  </a:txBody>
                  <a:tcPr marL="72529" marR="10800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38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ссмотрение вопроса об увеличении бюджетных ассигнований по мероприятию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3833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Times New Roman" pitchFamily="18" charset="0"/>
                          <a:cs typeface="Times New Roman" pitchFamily="18" charset="0"/>
                        </a:rPr>
                        <a:t>Включение мероприятия в план-график закупок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3833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Times New Roman" pitchFamily="18" charset="0"/>
                          <a:cs typeface="Times New Roman" pitchFamily="18" charset="0"/>
                        </a:rPr>
                        <a:t>Формирование конкурсной документаци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3833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Times New Roman" pitchFamily="18" charset="0"/>
                          <a:cs typeface="Times New Roman" pitchFamily="18" charset="0"/>
                        </a:rPr>
                        <a:t>Проведение конкурсных процедур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91065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5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Проработка вопроса 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 перераспределении федерального финансирования </a:t>
                      </a:r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и переноса срока достижения показателя на 2021 год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95636312"/>
                  </a:ext>
                </a:extLst>
              </a:tr>
              <a:tr h="68009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6</a:t>
                      </a: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Times New Roman" pitchFamily="18" charset="0"/>
                          <a:cs typeface="Times New Roman" pitchFamily="18" charset="0"/>
                        </a:rPr>
                        <a:t>Выполнение технического этапа рекультиваци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2529" marR="7252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5" name="Заголовок 20"/>
          <p:cNvSpPr txBox="1">
            <a:spLocks/>
          </p:cNvSpPr>
          <p:nvPr/>
        </p:nvSpPr>
        <p:spPr bwMode="auto">
          <a:xfrm>
            <a:off x="1402560" y="340431"/>
            <a:ext cx="9697077" cy="528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9" tIns="45719" rIns="91439" bIns="45719" anchor="ctr"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МЕРОПРИЯТИЯ ПО ПРОВЕДЕНИЮ РАБОТ ПО РЕКУЛЬТИВАЦИИ СВАЛОК </a:t>
            </a:r>
            <a:r>
              <a:rPr lang="ru-RU" sz="2000" b="1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dirty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ГОРОДАХ КИМРЫ И НЕЛИДОВО</a:t>
            </a:r>
            <a:endParaRPr lang="ru-RU" altLang="ru-RU" sz="2000" b="1" dirty="0">
              <a:solidFill>
                <a:srgbClr val="A88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" name="Рисунок 1">
            <a:extLst>
              <a:ext uri="{FF2B5EF4-FFF2-40B4-BE49-F238E27FC236}">
                <a16:creationId xmlns="" xmlns:a16="http://schemas.microsoft.com/office/drawing/2014/main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  <p:sp>
        <p:nvSpPr>
          <p:cNvPr id="1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87614" y="6492876"/>
            <a:ext cx="404388" cy="365125"/>
          </a:xfrm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/>
            <a:fld id="{3E716BDD-ECB7-4C86-83A2-DDBB799AEF99}" type="slidenum">
              <a:rPr lang="ru-RU"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11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4378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6848338"/>
              </p:ext>
            </p:extLst>
          </p:nvPr>
        </p:nvGraphicFramePr>
        <p:xfrm>
          <a:off x="986978" y="1768656"/>
          <a:ext cx="10937511" cy="38355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322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887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502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83632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734461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ниципальное </a:t>
                      </a:r>
                      <a:b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ние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объекта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ы реализации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ущий</a:t>
                      </a:r>
                      <a:r>
                        <a:rPr lang="ru-RU" sz="1800" b="1" u="none" strike="noStrike" baseline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</a:t>
                      </a: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тус, </a:t>
                      </a:r>
                      <a:b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исполнения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6364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род</a:t>
                      </a:r>
                      <a:r>
                        <a:rPr lang="ru-RU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Тверь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aseline="0" dirty="0" err="1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</a:t>
                      </a:r>
                      <a:r>
                        <a:rPr lang="ru-RU" sz="1800" dirty="0" err="1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онакопитель</a:t>
                      </a:r>
                      <a:r>
                        <a:rPr lang="ru-RU" sz="1800" dirty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цинкосодержащих отходов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 - 2022</a:t>
                      </a: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правлена заявка </a:t>
                      </a:r>
                      <a:b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 включение в федеральный проект.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опрос увеличения бюджетных ассигнований на разработку ПСД вынесен на заседание рабочей группы при Бюджетной комиссии</a:t>
                      </a: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46364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аковский район</a:t>
                      </a: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dirty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алка в</a:t>
                      </a:r>
                      <a:r>
                        <a:rPr lang="ru-RU" sz="1800" baseline="0" dirty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dirty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. </a:t>
                      </a:r>
                      <a:r>
                        <a:rPr lang="ru-RU" sz="1800" dirty="0" err="1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орново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-2023</a:t>
                      </a: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правлена заявка </a:t>
                      </a:r>
                      <a:b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 включение в федеральный проект.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ПСД за счет внебюджетных средств</a:t>
                      </a: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0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594509" y="6441282"/>
            <a:ext cx="597492" cy="426287"/>
          </a:xfrm>
        </p:spPr>
        <p:txBody>
          <a:bodyPr vert="horz" lIns="66396" tIns="33198" rIns="66396" bIns="33198" rtlCol="0" anchor="ctr"/>
          <a:lstStyle/>
          <a:p>
            <a:pPr algn="ctr"/>
            <a:fld id="{3E716BDD-ECB7-4C86-83A2-DDBB799AEF99}" type="slidenum">
              <a:rPr lang="ru-RU" sz="15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12</a:t>
            </a:fld>
            <a:endParaRPr lang="ru-RU" sz="1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1"/>
          <p:cNvPicPr>
            <a:picLocks noChangeAspect="1" noChangeArrowheads="1"/>
          </p:cNvPicPr>
          <p:nvPr/>
        </p:nvPicPr>
        <p:blipFill>
          <a:blip r:embed="rId3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  <p:sp>
        <p:nvSpPr>
          <p:cNvPr id="7" name="TextBox 13"/>
          <p:cNvSpPr txBox="1">
            <a:spLocks noChangeArrowheads="1"/>
          </p:cNvSpPr>
          <p:nvPr/>
        </p:nvSpPr>
        <p:spPr bwMode="auto">
          <a:xfrm>
            <a:off x="2262503" y="249107"/>
            <a:ext cx="8646641" cy="738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rgbClr val="A88000"/>
                </a:solidFill>
                <a:latin typeface="Times New Roman" panose="02020603050405020304" pitchFamily="18" charset="0"/>
                <a:cs typeface="Times New Roman" pitchFamily="18" charset="0"/>
              </a:rPr>
              <a:t>ПЛАН РЕАЛИЗАЦИИ </a:t>
            </a:r>
            <a:r>
              <a:rPr lang="ru-RU" altLang="ru-RU" sz="2000" b="1" dirty="0" smtClean="0">
                <a:solidFill>
                  <a:srgbClr val="A88000"/>
                </a:solidFill>
                <a:latin typeface="Times New Roman" panose="02020603050405020304" pitchFamily="18" charset="0"/>
                <a:cs typeface="Times New Roman" pitchFamily="18" charset="0"/>
              </a:rPr>
              <a:t>РЕГИОНАЛЬНОГО ПРОЕКТА </a:t>
            </a:r>
            <a:r>
              <a:rPr lang="ru-RU" altLang="ru-RU" sz="2000" b="1" dirty="0" smtClean="0">
                <a:solidFill>
                  <a:srgbClr val="A88000"/>
                </a:solidFill>
                <a:latin typeface="Times New Roman" panose="02020603050405020304" pitchFamily="18" charset="0"/>
                <a:cs typeface="Times New Roman" pitchFamily="18" charset="0"/>
              </a:rPr>
              <a:t>«ОЗДОРОВЛЕНИЕ ВОЛГИ»</a:t>
            </a:r>
            <a:endParaRPr lang="ru-RU" altLang="ru-RU" sz="2000" b="1" dirty="0">
              <a:solidFill>
                <a:srgbClr val="A88000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97788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3"/>
          <p:cNvSpPr txBox="1">
            <a:spLocks noChangeArrowheads="1"/>
          </p:cNvSpPr>
          <p:nvPr/>
        </p:nvSpPr>
        <p:spPr bwMode="auto">
          <a:xfrm>
            <a:off x="1178312" y="239798"/>
            <a:ext cx="10397704" cy="397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8527" tIns="44264" rIns="88527" bIns="44264">
            <a:spAutoFit/>
          </a:bodyPr>
          <a:lstStyle/>
          <a:p>
            <a:pPr algn="ctr"/>
            <a:r>
              <a:rPr lang="ru-RU" altLang="ru-RU" sz="2000" b="1" dirty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 ПЛАН РЕАЛИЗАЦИИ </a:t>
            </a:r>
            <a:r>
              <a:rPr lang="ru-RU" altLang="ru-RU" sz="2000" b="1" cap="all" dirty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РЕГИОНАЛЬНОГО </a:t>
            </a:r>
            <a:r>
              <a:rPr lang="ru-RU" altLang="ru-RU" sz="2000" b="1" cap="all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ПРОЕКТА «Чистая страна»</a:t>
            </a:r>
            <a:endParaRPr lang="ru-RU" altLang="ru-RU" sz="2000" b="1" cap="all" dirty="0">
              <a:solidFill>
                <a:srgbClr val="A88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270979"/>
              </p:ext>
            </p:extLst>
          </p:nvPr>
        </p:nvGraphicFramePr>
        <p:xfrm>
          <a:off x="1178312" y="1110157"/>
          <a:ext cx="10830808" cy="51345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68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357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751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773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52579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71409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ниципальное </a:t>
                      </a:r>
                      <a:b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ние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объекта (работы)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ы реализации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ущий</a:t>
                      </a:r>
                      <a:r>
                        <a:rPr lang="ru-RU" sz="1800" b="1" u="none" strike="noStrike" baseline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</a:t>
                      </a: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тус, </a:t>
                      </a:r>
                      <a:b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</a:t>
                      </a:r>
                      <a:r>
                        <a:rPr lang="ru-RU" sz="1800" b="1" u="none" strike="noStrike" baseline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сполнения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E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7768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ологовский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йон</a:t>
                      </a: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dirty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культивация</a:t>
                      </a:r>
                      <a:r>
                        <a:rPr lang="ru-RU" sz="1800" baseline="0" dirty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ru-RU" sz="1800" baseline="0" dirty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г. Бологое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 - 2022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исполнения контракт</a:t>
                      </a:r>
                      <a:r>
                        <a:rPr lang="ru-RU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ПСД 30.09.2020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ача заявки на получение федеральной субсидии </a:t>
                      </a:r>
                      <a:b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01.03.2021</a:t>
                      </a: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60016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4741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раснохолмский муниципальный округ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екультивация объекта в 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. 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илиппково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5625" marR="5625" marT="56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ключение контракта </a:t>
                      </a:r>
                      <a:b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ПСД до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1.03.2021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65257445"/>
                  </a:ext>
                </a:extLst>
              </a:tr>
              <a:tr h="760016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4741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ировский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айон</a:t>
                      </a: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7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екультивация объекта в </a:t>
                      </a:r>
                    </a:p>
                    <a:p>
                      <a:pPr marL="0" marR="0" indent="0" algn="ctr" defTabSz="6857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. Фирово</a:t>
                      </a:r>
                    </a:p>
                  </a:txBody>
                  <a:tcPr marL="5625" marR="5625" marT="56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ключение контракта </a:t>
                      </a:r>
                      <a:b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ПСД до 01.03.2022</a:t>
                      </a:r>
                      <a:r>
                        <a:rPr lang="ru-RU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52105778"/>
                  </a:ext>
                </a:extLst>
              </a:tr>
              <a:tr h="760016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ировский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йон</a:t>
                      </a: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екультивация объекта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</a:t>
                      </a:r>
                      <a:endParaRPr lang="ru-RU" sz="1800" kern="1200" dirty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г. Спирово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i="0" dirty="0">
                          <a:latin typeface="Times New Roman" pitchFamily="18" charset="0"/>
                          <a:cs typeface="Times New Roman" pitchFamily="18" charset="0"/>
                        </a:rPr>
                        <a:t>Направлены заявки на включение объектов в федеральный проект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20615600"/>
                  </a:ext>
                </a:extLst>
              </a:tr>
              <a:tr h="760016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3" marR="2383" marT="2941" marB="0"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4741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вшиновский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йон</a:t>
                      </a:r>
                    </a:p>
                  </a:txBody>
                  <a:tcPr marL="2383" marR="2383" marT="2941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екультивация объекта в 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 Кувшиново</a:t>
                      </a:r>
                    </a:p>
                  </a:txBody>
                  <a:tcPr marL="5625" marR="5625" marT="5625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i="0" dirty="0">
                          <a:latin typeface="Times New Roman" pitchFamily="18" charset="0"/>
                          <a:cs typeface="Times New Roman" pitchFamily="18" charset="0"/>
                        </a:rPr>
                        <a:t>Направлены заявки на включение объектов в федеральный проект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882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54787756"/>
                  </a:ext>
                </a:extLst>
              </a:tr>
            </a:tbl>
          </a:graphicData>
        </a:graphic>
      </p:graphicFrame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54929" y="6492876"/>
            <a:ext cx="437073" cy="365125"/>
          </a:xfrm>
        </p:spPr>
        <p:txBody>
          <a:bodyPr vert="horz" lIns="91438" tIns="45719" rIns="91438" bIns="45719" rtlCol="0" anchor="ctr"/>
          <a:lstStyle/>
          <a:p>
            <a:pPr algn="ctr"/>
            <a:fld id="{3E716BDD-ECB7-4C86-83A2-DDBB799AEF99}" type="slidenum">
              <a:rPr lang="ru-RU" sz="15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13</a:t>
            </a:fld>
            <a:endParaRPr lang="ru-RU" sz="1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"/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401869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Группа 36"/>
          <p:cNvGrpSpPr/>
          <p:nvPr/>
        </p:nvGrpSpPr>
        <p:grpSpPr>
          <a:xfrm>
            <a:off x="1647899" y="502846"/>
            <a:ext cx="10604323" cy="5875869"/>
            <a:chOff x="996972" y="742179"/>
            <a:chExt cx="11250697" cy="6115821"/>
          </a:xfrm>
        </p:grpSpPr>
        <p:grpSp>
          <p:nvGrpSpPr>
            <p:cNvPr id="38" name="Group 5"/>
            <p:cNvGrpSpPr>
              <a:grpSpLocks noChangeAspect="1"/>
            </p:cNvGrpSpPr>
            <p:nvPr/>
          </p:nvGrpSpPr>
          <p:grpSpPr bwMode="auto">
            <a:xfrm>
              <a:off x="996972" y="742179"/>
              <a:ext cx="11250697" cy="6115821"/>
              <a:chOff x="-630" y="900"/>
              <a:chExt cx="5535" cy="3420"/>
            </a:xfrm>
            <a:effectLst/>
          </p:grpSpPr>
          <p:sp>
            <p:nvSpPr>
              <p:cNvPr id="84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-630" y="900"/>
                <a:ext cx="5535" cy="34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sz="800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85" name="Group 206"/>
              <p:cNvGrpSpPr>
                <a:grpSpLocks/>
              </p:cNvGrpSpPr>
              <p:nvPr/>
            </p:nvGrpSpPr>
            <p:grpSpPr bwMode="auto">
              <a:xfrm>
                <a:off x="387" y="928"/>
                <a:ext cx="4417" cy="3337"/>
                <a:chOff x="387" y="928"/>
                <a:chExt cx="4417" cy="3337"/>
              </a:xfrm>
            </p:grpSpPr>
            <p:sp>
              <p:nvSpPr>
                <p:cNvPr id="90" name="Freeform 55"/>
                <p:cNvSpPr>
                  <a:spLocks/>
                </p:cNvSpPr>
                <p:nvPr/>
              </p:nvSpPr>
              <p:spPr bwMode="auto">
                <a:xfrm>
                  <a:off x="3377" y="2942"/>
                  <a:ext cx="650" cy="613"/>
                </a:xfrm>
                <a:custGeom>
                  <a:avLst/>
                  <a:gdLst>
                    <a:gd name="T0" fmla="*/ 245 w 650"/>
                    <a:gd name="T1" fmla="*/ 187 h 612"/>
                    <a:gd name="T2" fmla="*/ 291 w 650"/>
                    <a:gd name="T3" fmla="*/ 181 h 612"/>
                    <a:gd name="T4" fmla="*/ 314 w 650"/>
                    <a:gd name="T5" fmla="*/ 153 h 612"/>
                    <a:gd name="T6" fmla="*/ 296 w 650"/>
                    <a:gd name="T7" fmla="*/ 113 h 612"/>
                    <a:gd name="T8" fmla="*/ 319 w 650"/>
                    <a:gd name="T9" fmla="*/ 68 h 612"/>
                    <a:gd name="T10" fmla="*/ 354 w 650"/>
                    <a:gd name="T11" fmla="*/ 74 h 612"/>
                    <a:gd name="T12" fmla="*/ 388 w 650"/>
                    <a:gd name="T13" fmla="*/ 0 h 612"/>
                    <a:gd name="T14" fmla="*/ 490 w 650"/>
                    <a:gd name="T15" fmla="*/ 22 h 612"/>
                    <a:gd name="T16" fmla="*/ 508 w 650"/>
                    <a:gd name="T17" fmla="*/ 74 h 612"/>
                    <a:gd name="T18" fmla="*/ 588 w 650"/>
                    <a:gd name="T19" fmla="*/ 164 h 612"/>
                    <a:gd name="T20" fmla="*/ 645 w 650"/>
                    <a:gd name="T21" fmla="*/ 227 h 612"/>
                    <a:gd name="T22" fmla="*/ 650 w 650"/>
                    <a:gd name="T23" fmla="*/ 255 h 612"/>
                    <a:gd name="T24" fmla="*/ 622 w 650"/>
                    <a:gd name="T25" fmla="*/ 300 h 612"/>
                    <a:gd name="T26" fmla="*/ 627 w 650"/>
                    <a:gd name="T27" fmla="*/ 351 h 612"/>
                    <a:gd name="T28" fmla="*/ 588 w 650"/>
                    <a:gd name="T29" fmla="*/ 402 h 612"/>
                    <a:gd name="T30" fmla="*/ 542 w 650"/>
                    <a:gd name="T31" fmla="*/ 391 h 612"/>
                    <a:gd name="T32" fmla="*/ 525 w 650"/>
                    <a:gd name="T33" fmla="*/ 363 h 612"/>
                    <a:gd name="T34" fmla="*/ 462 w 650"/>
                    <a:gd name="T35" fmla="*/ 351 h 612"/>
                    <a:gd name="T36" fmla="*/ 411 w 650"/>
                    <a:gd name="T37" fmla="*/ 363 h 612"/>
                    <a:gd name="T38" fmla="*/ 279 w 650"/>
                    <a:gd name="T39" fmla="*/ 471 h 612"/>
                    <a:gd name="T40" fmla="*/ 228 w 650"/>
                    <a:gd name="T41" fmla="*/ 465 h 612"/>
                    <a:gd name="T42" fmla="*/ 137 w 650"/>
                    <a:gd name="T43" fmla="*/ 527 h 612"/>
                    <a:gd name="T44" fmla="*/ 80 w 650"/>
                    <a:gd name="T45" fmla="*/ 533 h 612"/>
                    <a:gd name="T46" fmla="*/ 40 w 650"/>
                    <a:gd name="T47" fmla="*/ 567 h 612"/>
                    <a:gd name="T48" fmla="*/ 28 w 650"/>
                    <a:gd name="T49" fmla="*/ 612 h 612"/>
                    <a:gd name="T50" fmla="*/ 0 w 650"/>
                    <a:gd name="T51" fmla="*/ 567 h 612"/>
                    <a:gd name="T52" fmla="*/ 11 w 650"/>
                    <a:gd name="T53" fmla="*/ 544 h 612"/>
                    <a:gd name="T54" fmla="*/ 11 w 650"/>
                    <a:gd name="T55" fmla="*/ 505 h 612"/>
                    <a:gd name="T56" fmla="*/ 80 w 650"/>
                    <a:gd name="T57" fmla="*/ 454 h 612"/>
                    <a:gd name="T58" fmla="*/ 68 w 650"/>
                    <a:gd name="T59" fmla="*/ 368 h 612"/>
                    <a:gd name="T60" fmla="*/ 68 w 650"/>
                    <a:gd name="T61" fmla="*/ 334 h 612"/>
                    <a:gd name="T62" fmla="*/ 34 w 650"/>
                    <a:gd name="T63" fmla="*/ 340 h 612"/>
                    <a:gd name="T64" fmla="*/ 40 w 650"/>
                    <a:gd name="T65" fmla="*/ 278 h 612"/>
                    <a:gd name="T66" fmla="*/ 57 w 650"/>
                    <a:gd name="T67" fmla="*/ 261 h 612"/>
                    <a:gd name="T68" fmla="*/ 80 w 650"/>
                    <a:gd name="T69" fmla="*/ 261 h 612"/>
                    <a:gd name="T70" fmla="*/ 85 w 650"/>
                    <a:gd name="T71" fmla="*/ 215 h 612"/>
                    <a:gd name="T72" fmla="*/ 125 w 650"/>
                    <a:gd name="T73" fmla="*/ 198 h 612"/>
                    <a:gd name="T74" fmla="*/ 131 w 650"/>
                    <a:gd name="T75" fmla="*/ 159 h 612"/>
                    <a:gd name="T76" fmla="*/ 165 w 650"/>
                    <a:gd name="T77" fmla="*/ 142 h 612"/>
                    <a:gd name="T78" fmla="*/ 188 w 650"/>
                    <a:gd name="T79" fmla="*/ 176 h 612"/>
                    <a:gd name="T80" fmla="*/ 188 w 650"/>
                    <a:gd name="T81" fmla="*/ 232 h 612"/>
                    <a:gd name="T82" fmla="*/ 245 w 650"/>
                    <a:gd name="T83" fmla="*/ 232 h 612"/>
                    <a:gd name="T84" fmla="*/ 245 w 650"/>
                    <a:gd name="T85" fmla="*/ 187 h 61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650"/>
                    <a:gd name="T130" fmla="*/ 0 h 612"/>
                    <a:gd name="T131" fmla="*/ 650 w 650"/>
                    <a:gd name="T132" fmla="*/ 612 h 612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650" h="612">
                      <a:moveTo>
                        <a:pt x="245" y="187"/>
                      </a:moveTo>
                      <a:lnTo>
                        <a:pt x="291" y="181"/>
                      </a:lnTo>
                      <a:lnTo>
                        <a:pt x="314" y="153"/>
                      </a:lnTo>
                      <a:lnTo>
                        <a:pt x="296" y="113"/>
                      </a:lnTo>
                      <a:lnTo>
                        <a:pt x="319" y="68"/>
                      </a:lnTo>
                      <a:lnTo>
                        <a:pt x="354" y="74"/>
                      </a:lnTo>
                      <a:lnTo>
                        <a:pt x="388" y="0"/>
                      </a:lnTo>
                      <a:lnTo>
                        <a:pt x="490" y="22"/>
                      </a:lnTo>
                      <a:lnTo>
                        <a:pt x="508" y="74"/>
                      </a:lnTo>
                      <a:lnTo>
                        <a:pt x="588" y="164"/>
                      </a:lnTo>
                      <a:lnTo>
                        <a:pt x="645" y="227"/>
                      </a:lnTo>
                      <a:lnTo>
                        <a:pt x="650" y="255"/>
                      </a:lnTo>
                      <a:lnTo>
                        <a:pt x="622" y="300"/>
                      </a:lnTo>
                      <a:lnTo>
                        <a:pt x="627" y="351"/>
                      </a:lnTo>
                      <a:lnTo>
                        <a:pt x="588" y="402"/>
                      </a:lnTo>
                      <a:lnTo>
                        <a:pt x="542" y="391"/>
                      </a:lnTo>
                      <a:lnTo>
                        <a:pt x="525" y="363"/>
                      </a:lnTo>
                      <a:lnTo>
                        <a:pt x="462" y="351"/>
                      </a:lnTo>
                      <a:lnTo>
                        <a:pt x="411" y="363"/>
                      </a:lnTo>
                      <a:lnTo>
                        <a:pt x="279" y="471"/>
                      </a:lnTo>
                      <a:lnTo>
                        <a:pt x="228" y="465"/>
                      </a:lnTo>
                      <a:lnTo>
                        <a:pt x="137" y="527"/>
                      </a:lnTo>
                      <a:lnTo>
                        <a:pt x="80" y="533"/>
                      </a:lnTo>
                      <a:lnTo>
                        <a:pt x="40" y="567"/>
                      </a:lnTo>
                      <a:lnTo>
                        <a:pt x="28" y="612"/>
                      </a:lnTo>
                      <a:lnTo>
                        <a:pt x="0" y="567"/>
                      </a:lnTo>
                      <a:lnTo>
                        <a:pt x="11" y="544"/>
                      </a:lnTo>
                      <a:lnTo>
                        <a:pt x="11" y="505"/>
                      </a:lnTo>
                      <a:lnTo>
                        <a:pt x="80" y="454"/>
                      </a:lnTo>
                      <a:lnTo>
                        <a:pt x="68" y="368"/>
                      </a:lnTo>
                      <a:lnTo>
                        <a:pt x="68" y="334"/>
                      </a:lnTo>
                      <a:lnTo>
                        <a:pt x="34" y="340"/>
                      </a:lnTo>
                      <a:lnTo>
                        <a:pt x="40" y="278"/>
                      </a:lnTo>
                      <a:lnTo>
                        <a:pt x="57" y="261"/>
                      </a:lnTo>
                      <a:lnTo>
                        <a:pt x="80" y="261"/>
                      </a:lnTo>
                      <a:lnTo>
                        <a:pt x="85" y="215"/>
                      </a:lnTo>
                      <a:lnTo>
                        <a:pt x="125" y="198"/>
                      </a:lnTo>
                      <a:lnTo>
                        <a:pt x="131" y="159"/>
                      </a:lnTo>
                      <a:lnTo>
                        <a:pt x="165" y="142"/>
                      </a:lnTo>
                      <a:lnTo>
                        <a:pt x="188" y="176"/>
                      </a:lnTo>
                      <a:lnTo>
                        <a:pt x="188" y="232"/>
                      </a:lnTo>
                      <a:lnTo>
                        <a:pt x="245" y="232"/>
                      </a:lnTo>
                      <a:lnTo>
                        <a:pt x="245" y="187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" name="Freeform 27"/>
                <p:cNvSpPr>
                  <a:spLocks/>
                </p:cNvSpPr>
                <p:nvPr/>
              </p:nvSpPr>
              <p:spPr bwMode="auto">
                <a:xfrm>
                  <a:off x="3417" y="1694"/>
                  <a:ext cx="473" cy="772"/>
                </a:xfrm>
                <a:custGeom>
                  <a:avLst/>
                  <a:gdLst>
                    <a:gd name="T0" fmla="*/ 51 w 473"/>
                    <a:gd name="T1" fmla="*/ 28 h 771"/>
                    <a:gd name="T2" fmla="*/ 102 w 473"/>
                    <a:gd name="T3" fmla="*/ 0 h 771"/>
                    <a:gd name="T4" fmla="*/ 125 w 473"/>
                    <a:gd name="T5" fmla="*/ 17 h 771"/>
                    <a:gd name="T6" fmla="*/ 125 w 473"/>
                    <a:gd name="T7" fmla="*/ 57 h 771"/>
                    <a:gd name="T8" fmla="*/ 148 w 473"/>
                    <a:gd name="T9" fmla="*/ 68 h 771"/>
                    <a:gd name="T10" fmla="*/ 199 w 473"/>
                    <a:gd name="T11" fmla="*/ 142 h 771"/>
                    <a:gd name="T12" fmla="*/ 211 w 473"/>
                    <a:gd name="T13" fmla="*/ 170 h 771"/>
                    <a:gd name="T14" fmla="*/ 359 w 473"/>
                    <a:gd name="T15" fmla="*/ 119 h 771"/>
                    <a:gd name="T16" fmla="*/ 382 w 473"/>
                    <a:gd name="T17" fmla="*/ 176 h 771"/>
                    <a:gd name="T18" fmla="*/ 416 w 473"/>
                    <a:gd name="T19" fmla="*/ 187 h 771"/>
                    <a:gd name="T20" fmla="*/ 439 w 473"/>
                    <a:gd name="T21" fmla="*/ 238 h 771"/>
                    <a:gd name="T22" fmla="*/ 411 w 473"/>
                    <a:gd name="T23" fmla="*/ 272 h 771"/>
                    <a:gd name="T24" fmla="*/ 405 w 473"/>
                    <a:gd name="T25" fmla="*/ 318 h 771"/>
                    <a:gd name="T26" fmla="*/ 433 w 473"/>
                    <a:gd name="T27" fmla="*/ 346 h 771"/>
                    <a:gd name="T28" fmla="*/ 416 w 473"/>
                    <a:gd name="T29" fmla="*/ 369 h 771"/>
                    <a:gd name="T30" fmla="*/ 433 w 473"/>
                    <a:gd name="T31" fmla="*/ 391 h 771"/>
                    <a:gd name="T32" fmla="*/ 411 w 473"/>
                    <a:gd name="T33" fmla="*/ 442 h 771"/>
                    <a:gd name="T34" fmla="*/ 439 w 473"/>
                    <a:gd name="T35" fmla="*/ 510 h 771"/>
                    <a:gd name="T36" fmla="*/ 473 w 473"/>
                    <a:gd name="T37" fmla="*/ 550 h 771"/>
                    <a:gd name="T38" fmla="*/ 439 w 473"/>
                    <a:gd name="T39" fmla="*/ 590 h 771"/>
                    <a:gd name="T40" fmla="*/ 445 w 473"/>
                    <a:gd name="T41" fmla="*/ 635 h 771"/>
                    <a:gd name="T42" fmla="*/ 411 w 473"/>
                    <a:gd name="T43" fmla="*/ 652 h 771"/>
                    <a:gd name="T44" fmla="*/ 416 w 473"/>
                    <a:gd name="T45" fmla="*/ 675 h 771"/>
                    <a:gd name="T46" fmla="*/ 399 w 473"/>
                    <a:gd name="T47" fmla="*/ 737 h 771"/>
                    <a:gd name="T48" fmla="*/ 365 w 473"/>
                    <a:gd name="T49" fmla="*/ 771 h 771"/>
                    <a:gd name="T50" fmla="*/ 302 w 473"/>
                    <a:gd name="T51" fmla="*/ 737 h 771"/>
                    <a:gd name="T52" fmla="*/ 165 w 473"/>
                    <a:gd name="T53" fmla="*/ 743 h 771"/>
                    <a:gd name="T54" fmla="*/ 120 w 473"/>
                    <a:gd name="T55" fmla="*/ 675 h 771"/>
                    <a:gd name="T56" fmla="*/ 68 w 473"/>
                    <a:gd name="T57" fmla="*/ 675 h 771"/>
                    <a:gd name="T58" fmla="*/ 0 w 473"/>
                    <a:gd name="T59" fmla="*/ 630 h 771"/>
                    <a:gd name="T60" fmla="*/ 45 w 473"/>
                    <a:gd name="T61" fmla="*/ 539 h 771"/>
                    <a:gd name="T62" fmla="*/ 45 w 473"/>
                    <a:gd name="T63" fmla="*/ 488 h 771"/>
                    <a:gd name="T64" fmla="*/ 74 w 473"/>
                    <a:gd name="T65" fmla="*/ 459 h 771"/>
                    <a:gd name="T66" fmla="*/ 28 w 473"/>
                    <a:gd name="T67" fmla="*/ 420 h 771"/>
                    <a:gd name="T68" fmla="*/ 51 w 473"/>
                    <a:gd name="T69" fmla="*/ 363 h 771"/>
                    <a:gd name="T70" fmla="*/ 40 w 473"/>
                    <a:gd name="T71" fmla="*/ 323 h 771"/>
                    <a:gd name="T72" fmla="*/ 68 w 473"/>
                    <a:gd name="T73" fmla="*/ 272 h 771"/>
                    <a:gd name="T74" fmla="*/ 74 w 473"/>
                    <a:gd name="T75" fmla="*/ 204 h 771"/>
                    <a:gd name="T76" fmla="*/ 40 w 473"/>
                    <a:gd name="T77" fmla="*/ 182 h 771"/>
                    <a:gd name="T78" fmla="*/ 68 w 473"/>
                    <a:gd name="T79" fmla="*/ 165 h 771"/>
                    <a:gd name="T80" fmla="*/ 28 w 473"/>
                    <a:gd name="T81" fmla="*/ 125 h 771"/>
                    <a:gd name="T82" fmla="*/ 40 w 473"/>
                    <a:gd name="T83" fmla="*/ 91 h 771"/>
                    <a:gd name="T84" fmla="*/ 28 w 473"/>
                    <a:gd name="T85" fmla="*/ 62 h 771"/>
                    <a:gd name="T86" fmla="*/ 51 w 473"/>
                    <a:gd name="T87" fmla="*/ 28 h 771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473"/>
                    <a:gd name="T133" fmla="*/ 0 h 771"/>
                    <a:gd name="T134" fmla="*/ 473 w 473"/>
                    <a:gd name="T135" fmla="*/ 771 h 771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473" h="771">
                      <a:moveTo>
                        <a:pt x="51" y="28"/>
                      </a:moveTo>
                      <a:lnTo>
                        <a:pt x="102" y="0"/>
                      </a:lnTo>
                      <a:lnTo>
                        <a:pt x="125" y="17"/>
                      </a:lnTo>
                      <a:lnTo>
                        <a:pt x="125" y="57"/>
                      </a:lnTo>
                      <a:lnTo>
                        <a:pt x="148" y="68"/>
                      </a:lnTo>
                      <a:lnTo>
                        <a:pt x="199" y="142"/>
                      </a:lnTo>
                      <a:lnTo>
                        <a:pt x="211" y="170"/>
                      </a:lnTo>
                      <a:lnTo>
                        <a:pt x="359" y="119"/>
                      </a:lnTo>
                      <a:lnTo>
                        <a:pt x="382" y="176"/>
                      </a:lnTo>
                      <a:lnTo>
                        <a:pt x="416" y="187"/>
                      </a:lnTo>
                      <a:lnTo>
                        <a:pt x="439" y="238"/>
                      </a:lnTo>
                      <a:lnTo>
                        <a:pt x="411" y="272"/>
                      </a:lnTo>
                      <a:lnTo>
                        <a:pt x="405" y="318"/>
                      </a:lnTo>
                      <a:lnTo>
                        <a:pt x="433" y="346"/>
                      </a:lnTo>
                      <a:lnTo>
                        <a:pt x="416" y="369"/>
                      </a:lnTo>
                      <a:lnTo>
                        <a:pt x="433" y="391"/>
                      </a:lnTo>
                      <a:lnTo>
                        <a:pt x="411" y="442"/>
                      </a:lnTo>
                      <a:lnTo>
                        <a:pt x="439" y="510"/>
                      </a:lnTo>
                      <a:lnTo>
                        <a:pt x="473" y="550"/>
                      </a:lnTo>
                      <a:lnTo>
                        <a:pt x="439" y="590"/>
                      </a:lnTo>
                      <a:lnTo>
                        <a:pt x="445" y="635"/>
                      </a:lnTo>
                      <a:lnTo>
                        <a:pt x="411" y="652"/>
                      </a:lnTo>
                      <a:lnTo>
                        <a:pt x="416" y="675"/>
                      </a:lnTo>
                      <a:lnTo>
                        <a:pt x="399" y="737"/>
                      </a:lnTo>
                      <a:lnTo>
                        <a:pt x="365" y="771"/>
                      </a:lnTo>
                      <a:lnTo>
                        <a:pt x="302" y="737"/>
                      </a:lnTo>
                      <a:lnTo>
                        <a:pt x="165" y="743"/>
                      </a:lnTo>
                      <a:lnTo>
                        <a:pt x="120" y="675"/>
                      </a:lnTo>
                      <a:lnTo>
                        <a:pt x="68" y="675"/>
                      </a:lnTo>
                      <a:lnTo>
                        <a:pt x="0" y="630"/>
                      </a:lnTo>
                      <a:lnTo>
                        <a:pt x="45" y="539"/>
                      </a:lnTo>
                      <a:lnTo>
                        <a:pt x="45" y="488"/>
                      </a:lnTo>
                      <a:lnTo>
                        <a:pt x="74" y="459"/>
                      </a:lnTo>
                      <a:lnTo>
                        <a:pt x="28" y="420"/>
                      </a:lnTo>
                      <a:lnTo>
                        <a:pt x="51" y="363"/>
                      </a:lnTo>
                      <a:lnTo>
                        <a:pt x="40" y="323"/>
                      </a:lnTo>
                      <a:lnTo>
                        <a:pt x="68" y="272"/>
                      </a:lnTo>
                      <a:lnTo>
                        <a:pt x="74" y="204"/>
                      </a:lnTo>
                      <a:lnTo>
                        <a:pt x="40" y="182"/>
                      </a:lnTo>
                      <a:lnTo>
                        <a:pt x="68" y="165"/>
                      </a:lnTo>
                      <a:lnTo>
                        <a:pt x="28" y="125"/>
                      </a:lnTo>
                      <a:lnTo>
                        <a:pt x="40" y="91"/>
                      </a:lnTo>
                      <a:lnTo>
                        <a:pt x="28" y="62"/>
                      </a:lnTo>
                      <a:lnTo>
                        <a:pt x="51" y="28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" name="Freeform 28"/>
                <p:cNvSpPr>
                  <a:spLocks/>
                </p:cNvSpPr>
                <p:nvPr/>
              </p:nvSpPr>
              <p:spPr bwMode="auto">
                <a:xfrm>
                  <a:off x="3693" y="2530"/>
                  <a:ext cx="642" cy="583"/>
                </a:xfrm>
                <a:custGeom>
                  <a:avLst/>
                  <a:gdLst/>
                  <a:ahLst/>
                  <a:cxnLst>
                    <a:cxn ang="0">
                      <a:pos x="86" y="5"/>
                    </a:cxn>
                    <a:cxn ang="0">
                      <a:pos x="120" y="0"/>
                    </a:cxn>
                    <a:cxn ang="0">
                      <a:pos x="189" y="11"/>
                    </a:cxn>
                    <a:cxn ang="0">
                      <a:pos x="206" y="28"/>
                    </a:cxn>
                    <a:cxn ang="0">
                      <a:pos x="234" y="34"/>
                    </a:cxn>
                    <a:cxn ang="0">
                      <a:pos x="251" y="45"/>
                    </a:cxn>
                    <a:cxn ang="0">
                      <a:pos x="263" y="102"/>
                    </a:cxn>
                    <a:cxn ang="0">
                      <a:pos x="303" y="147"/>
                    </a:cxn>
                    <a:cxn ang="0">
                      <a:pos x="297" y="181"/>
                    </a:cxn>
                    <a:cxn ang="0">
                      <a:pos x="343" y="170"/>
                    </a:cxn>
                    <a:cxn ang="0">
                      <a:pos x="440" y="102"/>
                    </a:cxn>
                    <a:cxn ang="0">
                      <a:pos x="445" y="142"/>
                    </a:cxn>
                    <a:cxn ang="0">
                      <a:pos x="474" y="176"/>
                    </a:cxn>
                    <a:cxn ang="0">
                      <a:pos x="514" y="159"/>
                    </a:cxn>
                    <a:cxn ang="0">
                      <a:pos x="582" y="204"/>
                    </a:cxn>
                    <a:cxn ang="0">
                      <a:pos x="571" y="244"/>
                    </a:cxn>
                    <a:cxn ang="0">
                      <a:pos x="622" y="261"/>
                    </a:cxn>
                    <a:cxn ang="0">
                      <a:pos x="628" y="317"/>
                    </a:cxn>
                    <a:cxn ang="0">
                      <a:pos x="645" y="323"/>
                    </a:cxn>
                    <a:cxn ang="0">
                      <a:pos x="639" y="380"/>
                    </a:cxn>
                    <a:cxn ang="0">
                      <a:pos x="605" y="368"/>
                    </a:cxn>
                    <a:cxn ang="0">
                      <a:pos x="565" y="414"/>
                    </a:cxn>
                    <a:cxn ang="0">
                      <a:pos x="537" y="414"/>
                    </a:cxn>
                    <a:cxn ang="0">
                      <a:pos x="548" y="459"/>
                    </a:cxn>
                    <a:cxn ang="0">
                      <a:pos x="508" y="544"/>
                    </a:cxn>
                    <a:cxn ang="0">
                      <a:pos x="468" y="533"/>
                    </a:cxn>
                    <a:cxn ang="0">
                      <a:pos x="411" y="567"/>
                    </a:cxn>
                    <a:cxn ang="0">
                      <a:pos x="366" y="539"/>
                    </a:cxn>
                    <a:cxn ang="0">
                      <a:pos x="297" y="561"/>
                    </a:cxn>
                    <a:cxn ang="0">
                      <a:pos x="274" y="584"/>
                    </a:cxn>
                    <a:cxn ang="0">
                      <a:pos x="189" y="493"/>
                    </a:cxn>
                    <a:cxn ang="0">
                      <a:pos x="166" y="436"/>
                    </a:cxn>
                    <a:cxn ang="0">
                      <a:pos x="69" y="414"/>
                    </a:cxn>
                    <a:cxn ang="0">
                      <a:pos x="86" y="340"/>
                    </a:cxn>
                    <a:cxn ang="0">
                      <a:pos x="35" y="334"/>
                    </a:cxn>
                    <a:cxn ang="0">
                      <a:pos x="35" y="272"/>
                    </a:cxn>
                    <a:cxn ang="0">
                      <a:pos x="46" y="255"/>
                    </a:cxn>
                    <a:cxn ang="0">
                      <a:pos x="46" y="238"/>
                    </a:cxn>
                    <a:cxn ang="0">
                      <a:pos x="40" y="221"/>
                    </a:cxn>
                    <a:cxn ang="0">
                      <a:pos x="40" y="210"/>
                    </a:cxn>
                    <a:cxn ang="0">
                      <a:pos x="35" y="198"/>
                    </a:cxn>
                    <a:cxn ang="0">
                      <a:pos x="29" y="193"/>
                    </a:cxn>
                    <a:cxn ang="0">
                      <a:pos x="23" y="193"/>
                    </a:cxn>
                    <a:cxn ang="0">
                      <a:pos x="12" y="193"/>
                    </a:cxn>
                    <a:cxn ang="0">
                      <a:pos x="6" y="193"/>
                    </a:cxn>
                    <a:cxn ang="0">
                      <a:pos x="0" y="153"/>
                    </a:cxn>
                    <a:cxn ang="0">
                      <a:pos x="80" y="56"/>
                    </a:cxn>
                    <a:cxn ang="0">
                      <a:pos x="86" y="5"/>
                    </a:cxn>
                    <a:cxn ang="0">
                      <a:pos x="86" y="5"/>
                    </a:cxn>
                  </a:cxnLst>
                  <a:rect l="0" t="0" r="r" b="b"/>
                  <a:pathLst>
                    <a:path w="645" h="584">
                      <a:moveTo>
                        <a:pt x="86" y="5"/>
                      </a:moveTo>
                      <a:lnTo>
                        <a:pt x="120" y="0"/>
                      </a:lnTo>
                      <a:lnTo>
                        <a:pt x="189" y="11"/>
                      </a:lnTo>
                      <a:lnTo>
                        <a:pt x="206" y="28"/>
                      </a:lnTo>
                      <a:lnTo>
                        <a:pt x="234" y="34"/>
                      </a:lnTo>
                      <a:lnTo>
                        <a:pt x="251" y="45"/>
                      </a:lnTo>
                      <a:lnTo>
                        <a:pt x="263" y="102"/>
                      </a:lnTo>
                      <a:lnTo>
                        <a:pt x="303" y="147"/>
                      </a:lnTo>
                      <a:lnTo>
                        <a:pt x="297" y="181"/>
                      </a:lnTo>
                      <a:lnTo>
                        <a:pt x="343" y="170"/>
                      </a:lnTo>
                      <a:lnTo>
                        <a:pt x="440" y="102"/>
                      </a:lnTo>
                      <a:lnTo>
                        <a:pt x="445" y="142"/>
                      </a:lnTo>
                      <a:lnTo>
                        <a:pt x="474" y="176"/>
                      </a:lnTo>
                      <a:lnTo>
                        <a:pt x="514" y="159"/>
                      </a:lnTo>
                      <a:lnTo>
                        <a:pt x="582" y="204"/>
                      </a:lnTo>
                      <a:lnTo>
                        <a:pt x="571" y="244"/>
                      </a:lnTo>
                      <a:lnTo>
                        <a:pt x="622" y="261"/>
                      </a:lnTo>
                      <a:lnTo>
                        <a:pt x="628" y="317"/>
                      </a:lnTo>
                      <a:lnTo>
                        <a:pt x="645" y="323"/>
                      </a:lnTo>
                      <a:lnTo>
                        <a:pt x="639" y="380"/>
                      </a:lnTo>
                      <a:lnTo>
                        <a:pt x="605" y="368"/>
                      </a:lnTo>
                      <a:lnTo>
                        <a:pt x="565" y="414"/>
                      </a:lnTo>
                      <a:lnTo>
                        <a:pt x="537" y="414"/>
                      </a:lnTo>
                      <a:lnTo>
                        <a:pt x="548" y="459"/>
                      </a:lnTo>
                      <a:lnTo>
                        <a:pt x="508" y="544"/>
                      </a:lnTo>
                      <a:lnTo>
                        <a:pt x="468" y="533"/>
                      </a:lnTo>
                      <a:lnTo>
                        <a:pt x="411" y="567"/>
                      </a:lnTo>
                      <a:lnTo>
                        <a:pt x="366" y="539"/>
                      </a:lnTo>
                      <a:lnTo>
                        <a:pt x="297" y="561"/>
                      </a:lnTo>
                      <a:lnTo>
                        <a:pt x="274" y="584"/>
                      </a:lnTo>
                      <a:lnTo>
                        <a:pt x="189" y="493"/>
                      </a:lnTo>
                      <a:lnTo>
                        <a:pt x="166" y="436"/>
                      </a:lnTo>
                      <a:lnTo>
                        <a:pt x="69" y="414"/>
                      </a:lnTo>
                      <a:lnTo>
                        <a:pt x="86" y="340"/>
                      </a:lnTo>
                      <a:lnTo>
                        <a:pt x="35" y="334"/>
                      </a:lnTo>
                      <a:lnTo>
                        <a:pt x="35" y="272"/>
                      </a:lnTo>
                      <a:lnTo>
                        <a:pt x="46" y="255"/>
                      </a:lnTo>
                      <a:lnTo>
                        <a:pt x="46" y="238"/>
                      </a:lnTo>
                      <a:lnTo>
                        <a:pt x="40" y="221"/>
                      </a:lnTo>
                      <a:lnTo>
                        <a:pt x="40" y="210"/>
                      </a:lnTo>
                      <a:lnTo>
                        <a:pt x="35" y="198"/>
                      </a:lnTo>
                      <a:lnTo>
                        <a:pt x="29" y="193"/>
                      </a:lnTo>
                      <a:lnTo>
                        <a:pt x="23" y="193"/>
                      </a:lnTo>
                      <a:lnTo>
                        <a:pt x="12" y="193"/>
                      </a:lnTo>
                      <a:lnTo>
                        <a:pt x="6" y="193"/>
                      </a:lnTo>
                      <a:lnTo>
                        <a:pt x="0" y="153"/>
                      </a:lnTo>
                      <a:lnTo>
                        <a:pt x="80" y="56"/>
                      </a:lnTo>
                      <a:lnTo>
                        <a:pt x="86" y="5"/>
                      </a:lnTo>
                      <a:lnTo>
                        <a:pt x="86" y="5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3"/>
                </a:fillRef>
                <a:effectRef idx="1">
                  <a:schemeClr val="accent3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93" name="Freeform 31"/>
                <p:cNvSpPr>
                  <a:spLocks/>
                </p:cNvSpPr>
                <p:nvPr/>
              </p:nvSpPr>
              <p:spPr bwMode="auto">
                <a:xfrm>
                  <a:off x="3822" y="2125"/>
                  <a:ext cx="534" cy="307"/>
                </a:xfrm>
                <a:custGeom>
                  <a:avLst/>
                  <a:gdLst>
                    <a:gd name="T0" fmla="*/ 120 w 531"/>
                    <a:gd name="T1" fmla="*/ 40 h 307"/>
                    <a:gd name="T2" fmla="*/ 125 w 531"/>
                    <a:gd name="T3" fmla="*/ 68 h 307"/>
                    <a:gd name="T4" fmla="*/ 165 w 531"/>
                    <a:gd name="T5" fmla="*/ 63 h 307"/>
                    <a:gd name="T6" fmla="*/ 228 w 531"/>
                    <a:gd name="T7" fmla="*/ 12 h 307"/>
                    <a:gd name="T8" fmla="*/ 297 w 531"/>
                    <a:gd name="T9" fmla="*/ 68 h 307"/>
                    <a:gd name="T10" fmla="*/ 297 w 531"/>
                    <a:gd name="T11" fmla="*/ 12 h 307"/>
                    <a:gd name="T12" fmla="*/ 314 w 531"/>
                    <a:gd name="T13" fmla="*/ 0 h 307"/>
                    <a:gd name="T14" fmla="*/ 371 w 531"/>
                    <a:gd name="T15" fmla="*/ 68 h 307"/>
                    <a:gd name="T16" fmla="*/ 399 w 531"/>
                    <a:gd name="T17" fmla="*/ 23 h 307"/>
                    <a:gd name="T18" fmla="*/ 394 w 531"/>
                    <a:gd name="T19" fmla="*/ 0 h 307"/>
                    <a:gd name="T20" fmla="*/ 434 w 531"/>
                    <a:gd name="T21" fmla="*/ 12 h 307"/>
                    <a:gd name="T22" fmla="*/ 445 w 531"/>
                    <a:gd name="T23" fmla="*/ 51 h 307"/>
                    <a:gd name="T24" fmla="*/ 531 w 531"/>
                    <a:gd name="T25" fmla="*/ 97 h 307"/>
                    <a:gd name="T26" fmla="*/ 496 w 531"/>
                    <a:gd name="T27" fmla="*/ 108 h 307"/>
                    <a:gd name="T28" fmla="*/ 456 w 531"/>
                    <a:gd name="T29" fmla="*/ 102 h 307"/>
                    <a:gd name="T30" fmla="*/ 439 w 531"/>
                    <a:gd name="T31" fmla="*/ 159 h 307"/>
                    <a:gd name="T32" fmla="*/ 382 w 531"/>
                    <a:gd name="T33" fmla="*/ 199 h 307"/>
                    <a:gd name="T34" fmla="*/ 302 w 531"/>
                    <a:gd name="T35" fmla="*/ 239 h 307"/>
                    <a:gd name="T36" fmla="*/ 268 w 531"/>
                    <a:gd name="T37" fmla="*/ 233 h 307"/>
                    <a:gd name="T38" fmla="*/ 200 w 531"/>
                    <a:gd name="T39" fmla="*/ 250 h 307"/>
                    <a:gd name="T40" fmla="*/ 148 w 531"/>
                    <a:gd name="T41" fmla="*/ 295 h 307"/>
                    <a:gd name="T42" fmla="*/ 114 w 531"/>
                    <a:gd name="T43" fmla="*/ 278 h 307"/>
                    <a:gd name="T44" fmla="*/ 68 w 531"/>
                    <a:gd name="T45" fmla="*/ 307 h 307"/>
                    <a:gd name="T46" fmla="*/ 34 w 531"/>
                    <a:gd name="T47" fmla="*/ 295 h 307"/>
                    <a:gd name="T48" fmla="*/ 0 w 531"/>
                    <a:gd name="T49" fmla="*/ 307 h 307"/>
                    <a:gd name="T50" fmla="*/ 11 w 531"/>
                    <a:gd name="T51" fmla="*/ 250 h 307"/>
                    <a:gd name="T52" fmla="*/ 6 w 531"/>
                    <a:gd name="T53" fmla="*/ 222 h 307"/>
                    <a:gd name="T54" fmla="*/ 45 w 531"/>
                    <a:gd name="T55" fmla="*/ 205 h 307"/>
                    <a:gd name="T56" fmla="*/ 40 w 531"/>
                    <a:gd name="T57" fmla="*/ 165 h 307"/>
                    <a:gd name="T58" fmla="*/ 74 w 531"/>
                    <a:gd name="T59" fmla="*/ 125 h 307"/>
                    <a:gd name="T60" fmla="*/ 40 w 531"/>
                    <a:gd name="T61" fmla="*/ 85 h 307"/>
                    <a:gd name="T62" fmla="*/ 80 w 531"/>
                    <a:gd name="T63" fmla="*/ 80 h 307"/>
                    <a:gd name="T64" fmla="*/ 120 w 531"/>
                    <a:gd name="T65" fmla="*/ 40 h 30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531"/>
                    <a:gd name="T100" fmla="*/ 0 h 307"/>
                    <a:gd name="T101" fmla="*/ 531 w 531"/>
                    <a:gd name="T102" fmla="*/ 307 h 30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531" h="307">
                      <a:moveTo>
                        <a:pt x="120" y="40"/>
                      </a:moveTo>
                      <a:lnTo>
                        <a:pt x="125" y="68"/>
                      </a:lnTo>
                      <a:lnTo>
                        <a:pt x="165" y="63"/>
                      </a:lnTo>
                      <a:lnTo>
                        <a:pt x="228" y="12"/>
                      </a:lnTo>
                      <a:lnTo>
                        <a:pt x="297" y="68"/>
                      </a:lnTo>
                      <a:lnTo>
                        <a:pt x="297" y="12"/>
                      </a:lnTo>
                      <a:lnTo>
                        <a:pt x="314" y="0"/>
                      </a:lnTo>
                      <a:lnTo>
                        <a:pt x="371" y="68"/>
                      </a:lnTo>
                      <a:lnTo>
                        <a:pt x="399" y="23"/>
                      </a:lnTo>
                      <a:lnTo>
                        <a:pt x="394" y="0"/>
                      </a:lnTo>
                      <a:lnTo>
                        <a:pt x="434" y="12"/>
                      </a:lnTo>
                      <a:lnTo>
                        <a:pt x="445" y="51"/>
                      </a:lnTo>
                      <a:lnTo>
                        <a:pt x="531" y="97"/>
                      </a:lnTo>
                      <a:lnTo>
                        <a:pt x="496" y="108"/>
                      </a:lnTo>
                      <a:lnTo>
                        <a:pt x="456" y="102"/>
                      </a:lnTo>
                      <a:lnTo>
                        <a:pt x="439" y="159"/>
                      </a:lnTo>
                      <a:lnTo>
                        <a:pt x="382" y="199"/>
                      </a:lnTo>
                      <a:lnTo>
                        <a:pt x="302" y="239"/>
                      </a:lnTo>
                      <a:lnTo>
                        <a:pt x="268" y="233"/>
                      </a:lnTo>
                      <a:lnTo>
                        <a:pt x="200" y="250"/>
                      </a:lnTo>
                      <a:lnTo>
                        <a:pt x="148" y="295"/>
                      </a:lnTo>
                      <a:lnTo>
                        <a:pt x="114" y="278"/>
                      </a:lnTo>
                      <a:lnTo>
                        <a:pt x="68" y="307"/>
                      </a:lnTo>
                      <a:lnTo>
                        <a:pt x="34" y="295"/>
                      </a:lnTo>
                      <a:lnTo>
                        <a:pt x="0" y="307"/>
                      </a:lnTo>
                      <a:lnTo>
                        <a:pt x="11" y="250"/>
                      </a:lnTo>
                      <a:lnTo>
                        <a:pt x="6" y="222"/>
                      </a:lnTo>
                      <a:lnTo>
                        <a:pt x="45" y="205"/>
                      </a:lnTo>
                      <a:lnTo>
                        <a:pt x="40" y="165"/>
                      </a:lnTo>
                      <a:lnTo>
                        <a:pt x="74" y="125"/>
                      </a:lnTo>
                      <a:lnTo>
                        <a:pt x="40" y="85"/>
                      </a:lnTo>
                      <a:lnTo>
                        <a:pt x="80" y="80"/>
                      </a:lnTo>
                      <a:lnTo>
                        <a:pt x="120" y="40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" name="Freeform 32"/>
                <p:cNvSpPr>
                  <a:spLocks/>
                </p:cNvSpPr>
                <p:nvPr/>
              </p:nvSpPr>
              <p:spPr bwMode="auto">
                <a:xfrm>
                  <a:off x="3783" y="2216"/>
                  <a:ext cx="687" cy="516"/>
                </a:xfrm>
                <a:custGeom>
                  <a:avLst/>
                  <a:gdLst/>
                  <a:ahLst/>
                  <a:cxnLst>
                    <a:cxn ang="0">
                      <a:pos x="308" y="136"/>
                    </a:cxn>
                    <a:cxn ang="0">
                      <a:pos x="336" y="142"/>
                    </a:cxn>
                    <a:cxn ang="0">
                      <a:pos x="416" y="108"/>
                    </a:cxn>
                    <a:cxn ang="0">
                      <a:pos x="473" y="62"/>
                    </a:cxn>
                    <a:cxn ang="0">
                      <a:pos x="496" y="5"/>
                    </a:cxn>
                    <a:cxn ang="0">
                      <a:pos x="530" y="17"/>
                    </a:cxn>
                    <a:cxn ang="0">
                      <a:pos x="559" y="0"/>
                    </a:cxn>
                    <a:cxn ang="0">
                      <a:pos x="587" y="23"/>
                    </a:cxn>
                    <a:cxn ang="0">
                      <a:pos x="570" y="108"/>
                    </a:cxn>
                    <a:cxn ang="0">
                      <a:pos x="587" y="136"/>
                    </a:cxn>
                    <a:cxn ang="0">
                      <a:pos x="570" y="170"/>
                    </a:cxn>
                    <a:cxn ang="0">
                      <a:pos x="690" y="278"/>
                    </a:cxn>
                    <a:cxn ang="0">
                      <a:pos x="679" y="317"/>
                    </a:cxn>
                    <a:cxn ang="0">
                      <a:pos x="633" y="323"/>
                    </a:cxn>
                    <a:cxn ang="0">
                      <a:pos x="610" y="368"/>
                    </a:cxn>
                    <a:cxn ang="0">
                      <a:pos x="547" y="329"/>
                    </a:cxn>
                    <a:cxn ang="0">
                      <a:pos x="542" y="391"/>
                    </a:cxn>
                    <a:cxn ang="0">
                      <a:pos x="513" y="420"/>
                    </a:cxn>
                    <a:cxn ang="0">
                      <a:pos x="490" y="516"/>
                    </a:cxn>
                    <a:cxn ang="0">
                      <a:pos x="422" y="476"/>
                    </a:cxn>
                    <a:cxn ang="0">
                      <a:pos x="382" y="488"/>
                    </a:cxn>
                    <a:cxn ang="0">
                      <a:pos x="359" y="459"/>
                    </a:cxn>
                    <a:cxn ang="0">
                      <a:pos x="348" y="414"/>
                    </a:cxn>
                    <a:cxn ang="0">
                      <a:pos x="251" y="482"/>
                    </a:cxn>
                    <a:cxn ang="0">
                      <a:pos x="205" y="493"/>
                    </a:cxn>
                    <a:cxn ang="0">
                      <a:pos x="211" y="459"/>
                    </a:cxn>
                    <a:cxn ang="0">
                      <a:pos x="171" y="414"/>
                    </a:cxn>
                    <a:cxn ang="0">
                      <a:pos x="159" y="357"/>
                    </a:cxn>
                    <a:cxn ang="0">
                      <a:pos x="142" y="340"/>
                    </a:cxn>
                    <a:cxn ang="0">
                      <a:pos x="114" y="340"/>
                    </a:cxn>
                    <a:cxn ang="0">
                      <a:pos x="97" y="317"/>
                    </a:cxn>
                    <a:cxn ang="0">
                      <a:pos x="28" y="306"/>
                    </a:cxn>
                    <a:cxn ang="0">
                      <a:pos x="0" y="317"/>
                    </a:cxn>
                    <a:cxn ang="0">
                      <a:pos x="0" y="244"/>
                    </a:cxn>
                    <a:cxn ang="0">
                      <a:pos x="34" y="210"/>
                    </a:cxn>
                    <a:cxn ang="0">
                      <a:pos x="74" y="204"/>
                    </a:cxn>
                    <a:cxn ang="0">
                      <a:pos x="108" y="210"/>
                    </a:cxn>
                    <a:cxn ang="0">
                      <a:pos x="154" y="187"/>
                    </a:cxn>
                    <a:cxn ang="0">
                      <a:pos x="182" y="198"/>
                    </a:cxn>
                    <a:cxn ang="0">
                      <a:pos x="234" y="159"/>
                    </a:cxn>
                    <a:cxn ang="0">
                      <a:pos x="308" y="136"/>
                    </a:cxn>
                  </a:cxnLst>
                  <a:rect l="0" t="0" r="r" b="b"/>
                  <a:pathLst>
                    <a:path w="690" h="516">
                      <a:moveTo>
                        <a:pt x="308" y="136"/>
                      </a:moveTo>
                      <a:lnTo>
                        <a:pt x="336" y="142"/>
                      </a:lnTo>
                      <a:lnTo>
                        <a:pt x="416" y="108"/>
                      </a:lnTo>
                      <a:lnTo>
                        <a:pt x="473" y="62"/>
                      </a:lnTo>
                      <a:lnTo>
                        <a:pt x="496" y="5"/>
                      </a:lnTo>
                      <a:lnTo>
                        <a:pt x="530" y="17"/>
                      </a:lnTo>
                      <a:lnTo>
                        <a:pt x="559" y="0"/>
                      </a:lnTo>
                      <a:lnTo>
                        <a:pt x="587" y="23"/>
                      </a:lnTo>
                      <a:lnTo>
                        <a:pt x="570" y="108"/>
                      </a:lnTo>
                      <a:lnTo>
                        <a:pt x="587" y="136"/>
                      </a:lnTo>
                      <a:lnTo>
                        <a:pt x="570" y="170"/>
                      </a:lnTo>
                      <a:lnTo>
                        <a:pt x="690" y="278"/>
                      </a:lnTo>
                      <a:lnTo>
                        <a:pt x="679" y="317"/>
                      </a:lnTo>
                      <a:lnTo>
                        <a:pt x="633" y="323"/>
                      </a:lnTo>
                      <a:lnTo>
                        <a:pt x="610" y="368"/>
                      </a:lnTo>
                      <a:lnTo>
                        <a:pt x="547" y="329"/>
                      </a:lnTo>
                      <a:lnTo>
                        <a:pt x="542" y="391"/>
                      </a:lnTo>
                      <a:lnTo>
                        <a:pt x="513" y="420"/>
                      </a:lnTo>
                      <a:lnTo>
                        <a:pt x="490" y="516"/>
                      </a:lnTo>
                      <a:lnTo>
                        <a:pt x="422" y="476"/>
                      </a:lnTo>
                      <a:lnTo>
                        <a:pt x="382" y="488"/>
                      </a:lnTo>
                      <a:lnTo>
                        <a:pt x="359" y="459"/>
                      </a:lnTo>
                      <a:lnTo>
                        <a:pt x="348" y="414"/>
                      </a:lnTo>
                      <a:lnTo>
                        <a:pt x="251" y="482"/>
                      </a:lnTo>
                      <a:lnTo>
                        <a:pt x="205" y="493"/>
                      </a:lnTo>
                      <a:lnTo>
                        <a:pt x="211" y="459"/>
                      </a:lnTo>
                      <a:lnTo>
                        <a:pt x="171" y="414"/>
                      </a:lnTo>
                      <a:lnTo>
                        <a:pt x="159" y="357"/>
                      </a:lnTo>
                      <a:lnTo>
                        <a:pt x="142" y="340"/>
                      </a:lnTo>
                      <a:lnTo>
                        <a:pt x="114" y="340"/>
                      </a:lnTo>
                      <a:lnTo>
                        <a:pt x="97" y="317"/>
                      </a:lnTo>
                      <a:lnTo>
                        <a:pt x="28" y="306"/>
                      </a:lnTo>
                      <a:lnTo>
                        <a:pt x="0" y="317"/>
                      </a:lnTo>
                      <a:lnTo>
                        <a:pt x="0" y="244"/>
                      </a:lnTo>
                      <a:lnTo>
                        <a:pt x="34" y="210"/>
                      </a:lnTo>
                      <a:lnTo>
                        <a:pt x="74" y="204"/>
                      </a:lnTo>
                      <a:lnTo>
                        <a:pt x="108" y="210"/>
                      </a:lnTo>
                      <a:lnTo>
                        <a:pt x="154" y="187"/>
                      </a:lnTo>
                      <a:lnTo>
                        <a:pt x="182" y="198"/>
                      </a:lnTo>
                      <a:lnTo>
                        <a:pt x="234" y="159"/>
                      </a:lnTo>
                      <a:lnTo>
                        <a:pt x="308" y="136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95" name="Freeform 35"/>
                <p:cNvSpPr>
                  <a:spLocks/>
                </p:cNvSpPr>
                <p:nvPr/>
              </p:nvSpPr>
              <p:spPr bwMode="auto">
                <a:xfrm>
                  <a:off x="4265" y="2459"/>
                  <a:ext cx="395" cy="639"/>
                </a:xfrm>
                <a:custGeom>
                  <a:avLst/>
                  <a:gdLst>
                    <a:gd name="T0" fmla="*/ 125 w 394"/>
                    <a:gd name="T1" fmla="*/ 124 h 641"/>
                    <a:gd name="T2" fmla="*/ 160 w 394"/>
                    <a:gd name="T3" fmla="*/ 79 h 641"/>
                    <a:gd name="T4" fmla="*/ 200 w 394"/>
                    <a:gd name="T5" fmla="*/ 73 h 641"/>
                    <a:gd name="T6" fmla="*/ 205 w 394"/>
                    <a:gd name="T7" fmla="*/ 45 h 641"/>
                    <a:gd name="T8" fmla="*/ 217 w 394"/>
                    <a:gd name="T9" fmla="*/ 22 h 641"/>
                    <a:gd name="T10" fmla="*/ 234 w 394"/>
                    <a:gd name="T11" fmla="*/ 5 h 641"/>
                    <a:gd name="T12" fmla="*/ 268 w 394"/>
                    <a:gd name="T13" fmla="*/ 34 h 641"/>
                    <a:gd name="T14" fmla="*/ 297 w 394"/>
                    <a:gd name="T15" fmla="*/ 22 h 641"/>
                    <a:gd name="T16" fmla="*/ 342 w 394"/>
                    <a:gd name="T17" fmla="*/ 0 h 641"/>
                    <a:gd name="T18" fmla="*/ 365 w 394"/>
                    <a:gd name="T19" fmla="*/ 0 h 641"/>
                    <a:gd name="T20" fmla="*/ 394 w 394"/>
                    <a:gd name="T21" fmla="*/ 102 h 641"/>
                    <a:gd name="T22" fmla="*/ 297 w 394"/>
                    <a:gd name="T23" fmla="*/ 153 h 641"/>
                    <a:gd name="T24" fmla="*/ 377 w 394"/>
                    <a:gd name="T25" fmla="*/ 329 h 641"/>
                    <a:gd name="T26" fmla="*/ 314 w 394"/>
                    <a:gd name="T27" fmla="*/ 402 h 641"/>
                    <a:gd name="T28" fmla="*/ 331 w 394"/>
                    <a:gd name="T29" fmla="*/ 431 h 641"/>
                    <a:gd name="T30" fmla="*/ 331 w 394"/>
                    <a:gd name="T31" fmla="*/ 482 h 641"/>
                    <a:gd name="T32" fmla="*/ 297 w 394"/>
                    <a:gd name="T33" fmla="*/ 504 h 641"/>
                    <a:gd name="T34" fmla="*/ 319 w 394"/>
                    <a:gd name="T35" fmla="*/ 533 h 641"/>
                    <a:gd name="T36" fmla="*/ 308 w 394"/>
                    <a:gd name="T37" fmla="*/ 561 h 641"/>
                    <a:gd name="T38" fmla="*/ 337 w 394"/>
                    <a:gd name="T39" fmla="*/ 544 h 641"/>
                    <a:gd name="T40" fmla="*/ 359 w 394"/>
                    <a:gd name="T41" fmla="*/ 556 h 641"/>
                    <a:gd name="T42" fmla="*/ 377 w 394"/>
                    <a:gd name="T43" fmla="*/ 612 h 641"/>
                    <a:gd name="T44" fmla="*/ 337 w 394"/>
                    <a:gd name="T45" fmla="*/ 624 h 641"/>
                    <a:gd name="T46" fmla="*/ 319 w 394"/>
                    <a:gd name="T47" fmla="*/ 618 h 641"/>
                    <a:gd name="T48" fmla="*/ 285 w 394"/>
                    <a:gd name="T49" fmla="*/ 641 h 641"/>
                    <a:gd name="T50" fmla="*/ 234 w 394"/>
                    <a:gd name="T51" fmla="*/ 624 h 641"/>
                    <a:gd name="T52" fmla="*/ 200 w 394"/>
                    <a:gd name="T53" fmla="*/ 504 h 641"/>
                    <a:gd name="T54" fmla="*/ 165 w 394"/>
                    <a:gd name="T55" fmla="*/ 499 h 641"/>
                    <a:gd name="T56" fmla="*/ 74 w 394"/>
                    <a:gd name="T57" fmla="*/ 442 h 641"/>
                    <a:gd name="T58" fmla="*/ 74 w 394"/>
                    <a:gd name="T59" fmla="*/ 391 h 641"/>
                    <a:gd name="T60" fmla="*/ 57 w 394"/>
                    <a:gd name="T61" fmla="*/ 385 h 641"/>
                    <a:gd name="T62" fmla="*/ 51 w 394"/>
                    <a:gd name="T63" fmla="*/ 329 h 641"/>
                    <a:gd name="T64" fmla="*/ 0 w 394"/>
                    <a:gd name="T65" fmla="*/ 312 h 641"/>
                    <a:gd name="T66" fmla="*/ 11 w 394"/>
                    <a:gd name="T67" fmla="*/ 266 h 641"/>
                    <a:gd name="T68" fmla="*/ 34 w 394"/>
                    <a:gd name="T69" fmla="*/ 181 h 641"/>
                    <a:gd name="T70" fmla="*/ 63 w 394"/>
                    <a:gd name="T71" fmla="*/ 147 h 641"/>
                    <a:gd name="T72" fmla="*/ 68 w 394"/>
                    <a:gd name="T73" fmla="*/ 85 h 641"/>
                    <a:gd name="T74" fmla="*/ 125 w 394"/>
                    <a:gd name="T75" fmla="*/ 124 h 641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94"/>
                    <a:gd name="T115" fmla="*/ 0 h 641"/>
                    <a:gd name="T116" fmla="*/ 394 w 394"/>
                    <a:gd name="T117" fmla="*/ 641 h 641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94" h="641">
                      <a:moveTo>
                        <a:pt x="125" y="124"/>
                      </a:moveTo>
                      <a:lnTo>
                        <a:pt x="160" y="79"/>
                      </a:lnTo>
                      <a:lnTo>
                        <a:pt x="200" y="73"/>
                      </a:lnTo>
                      <a:lnTo>
                        <a:pt x="205" y="45"/>
                      </a:lnTo>
                      <a:lnTo>
                        <a:pt x="217" y="22"/>
                      </a:lnTo>
                      <a:lnTo>
                        <a:pt x="234" y="5"/>
                      </a:lnTo>
                      <a:lnTo>
                        <a:pt x="268" y="34"/>
                      </a:lnTo>
                      <a:lnTo>
                        <a:pt x="297" y="22"/>
                      </a:lnTo>
                      <a:lnTo>
                        <a:pt x="342" y="0"/>
                      </a:lnTo>
                      <a:lnTo>
                        <a:pt x="365" y="0"/>
                      </a:lnTo>
                      <a:lnTo>
                        <a:pt x="394" y="102"/>
                      </a:lnTo>
                      <a:lnTo>
                        <a:pt x="297" y="153"/>
                      </a:lnTo>
                      <a:lnTo>
                        <a:pt x="377" y="329"/>
                      </a:lnTo>
                      <a:lnTo>
                        <a:pt x="314" y="402"/>
                      </a:lnTo>
                      <a:lnTo>
                        <a:pt x="331" y="431"/>
                      </a:lnTo>
                      <a:lnTo>
                        <a:pt x="331" y="482"/>
                      </a:lnTo>
                      <a:lnTo>
                        <a:pt x="297" y="504"/>
                      </a:lnTo>
                      <a:lnTo>
                        <a:pt x="319" y="533"/>
                      </a:lnTo>
                      <a:lnTo>
                        <a:pt x="308" y="561"/>
                      </a:lnTo>
                      <a:lnTo>
                        <a:pt x="337" y="544"/>
                      </a:lnTo>
                      <a:lnTo>
                        <a:pt x="359" y="556"/>
                      </a:lnTo>
                      <a:lnTo>
                        <a:pt x="377" y="612"/>
                      </a:lnTo>
                      <a:lnTo>
                        <a:pt x="337" y="624"/>
                      </a:lnTo>
                      <a:lnTo>
                        <a:pt x="319" y="618"/>
                      </a:lnTo>
                      <a:lnTo>
                        <a:pt x="285" y="641"/>
                      </a:lnTo>
                      <a:lnTo>
                        <a:pt x="234" y="624"/>
                      </a:lnTo>
                      <a:lnTo>
                        <a:pt x="200" y="504"/>
                      </a:lnTo>
                      <a:lnTo>
                        <a:pt x="165" y="499"/>
                      </a:lnTo>
                      <a:lnTo>
                        <a:pt x="74" y="442"/>
                      </a:lnTo>
                      <a:lnTo>
                        <a:pt x="74" y="391"/>
                      </a:lnTo>
                      <a:lnTo>
                        <a:pt x="57" y="385"/>
                      </a:lnTo>
                      <a:lnTo>
                        <a:pt x="51" y="329"/>
                      </a:lnTo>
                      <a:lnTo>
                        <a:pt x="0" y="312"/>
                      </a:lnTo>
                      <a:lnTo>
                        <a:pt x="11" y="266"/>
                      </a:lnTo>
                      <a:lnTo>
                        <a:pt x="34" y="181"/>
                      </a:lnTo>
                      <a:lnTo>
                        <a:pt x="63" y="147"/>
                      </a:lnTo>
                      <a:lnTo>
                        <a:pt x="68" y="85"/>
                      </a:lnTo>
                      <a:lnTo>
                        <a:pt x="125" y="124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" name="Freeform 36"/>
                <p:cNvSpPr>
                  <a:spLocks/>
                </p:cNvSpPr>
                <p:nvPr/>
              </p:nvSpPr>
              <p:spPr bwMode="auto">
                <a:xfrm>
                  <a:off x="3823" y="1836"/>
                  <a:ext cx="450" cy="369"/>
                </a:xfrm>
                <a:custGeom>
                  <a:avLst/>
                  <a:gdLst/>
                  <a:ahLst/>
                  <a:cxnLst>
                    <a:cxn ang="0">
                      <a:pos x="40" y="96"/>
                    </a:cxn>
                    <a:cxn ang="0">
                      <a:pos x="97" y="142"/>
                    </a:cxn>
                    <a:cxn ang="0">
                      <a:pos x="131" y="119"/>
                    </a:cxn>
                    <a:cxn ang="0">
                      <a:pos x="171" y="113"/>
                    </a:cxn>
                    <a:cxn ang="0">
                      <a:pos x="217" y="57"/>
                    </a:cxn>
                    <a:cxn ang="0">
                      <a:pos x="205" y="28"/>
                    </a:cxn>
                    <a:cxn ang="0">
                      <a:pos x="251" y="0"/>
                    </a:cxn>
                    <a:cxn ang="0">
                      <a:pos x="268" y="57"/>
                    </a:cxn>
                    <a:cxn ang="0">
                      <a:pos x="314" y="68"/>
                    </a:cxn>
                    <a:cxn ang="0">
                      <a:pos x="337" y="85"/>
                    </a:cxn>
                    <a:cxn ang="0">
                      <a:pos x="262" y="96"/>
                    </a:cxn>
                    <a:cxn ang="0">
                      <a:pos x="251" y="119"/>
                    </a:cxn>
                    <a:cxn ang="0">
                      <a:pos x="262" y="142"/>
                    </a:cxn>
                    <a:cxn ang="0">
                      <a:pos x="291" y="125"/>
                    </a:cxn>
                    <a:cxn ang="0">
                      <a:pos x="279" y="181"/>
                    </a:cxn>
                    <a:cxn ang="0">
                      <a:pos x="359" y="181"/>
                    </a:cxn>
                    <a:cxn ang="0">
                      <a:pos x="451" y="289"/>
                    </a:cxn>
                    <a:cxn ang="0">
                      <a:pos x="439" y="295"/>
                    </a:cxn>
                    <a:cxn ang="0">
                      <a:pos x="399" y="278"/>
                    </a:cxn>
                    <a:cxn ang="0">
                      <a:pos x="405" y="300"/>
                    </a:cxn>
                    <a:cxn ang="0">
                      <a:pos x="376" y="346"/>
                    </a:cxn>
                    <a:cxn ang="0">
                      <a:pos x="314" y="283"/>
                    </a:cxn>
                    <a:cxn ang="0">
                      <a:pos x="297" y="295"/>
                    </a:cxn>
                    <a:cxn ang="0">
                      <a:pos x="297" y="351"/>
                    </a:cxn>
                    <a:cxn ang="0">
                      <a:pos x="228" y="289"/>
                    </a:cxn>
                    <a:cxn ang="0">
                      <a:pos x="165" y="346"/>
                    </a:cxn>
                    <a:cxn ang="0">
                      <a:pos x="125" y="351"/>
                    </a:cxn>
                    <a:cxn ang="0">
                      <a:pos x="120" y="323"/>
                    </a:cxn>
                    <a:cxn ang="0">
                      <a:pos x="74" y="363"/>
                    </a:cxn>
                    <a:cxn ang="0">
                      <a:pos x="40" y="368"/>
                    </a:cxn>
                    <a:cxn ang="0">
                      <a:pos x="11" y="295"/>
                    </a:cxn>
                    <a:cxn ang="0">
                      <a:pos x="34" y="255"/>
                    </a:cxn>
                    <a:cxn ang="0">
                      <a:pos x="17" y="227"/>
                    </a:cxn>
                    <a:cxn ang="0">
                      <a:pos x="28" y="210"/>
                    </a:cxn>
                    <a:cxn ang="0">
                      <a:pos x="0" y="176"/>
                    </a:cxn>
                    <a:cxn ang="0">
                      <a:pos x="6" y="130"/>
                    </a:cxn>
                    <a:cxn ang="0">
                      <a:pos x="40" y="96"/>
                    </a:cxn>
                  </a:cxnLst>
                  <a:rect l="0" t="0" r="r" b="b"/>
                  <a:pathLst>
                    <a:path w="451" h="368">
                      <a:moveTo>
                        <a:pt x="40" y="96"/>
                      </a:moveTo>
                      <a:lnTo>
                        <a:pt x="97" y="142"/>
                      </a:lnTo>
                      <a:lnTo>
                        <a:pt x="131" y="119"/>
                      </a:lnTo>
                      <a:lnTo>
                        <a:pt x="171" y="113"/>
                      </a:lnTo>
                      <a:lnTo>
                        <a:pt x="217" y="57"/>
                      </a:lnTo>
                      <a:lnTo>
                        <a:pt x="205" y="28"/>
                      </a:lnTo>
                      <a:lnTo>
                        <a:pt x="251" y="0"/>
                      </a:lnTo>
                      <a:lnTo>
                        <a:pt x="268" y="57"/>
                      </a:lnTo>
                      <a:lnTo>
                        <a:pt x="314" y="68"/>
                      </a:lnTo>
                      <a:lnTo>
                        <a:pt x="337" y="85"/>
                      </a:lnTo>
                      <a:lnTo>
                        <a:pt x="262" y="96"/>
                      </a:lnTo>
                      <a:lnTo>
                        <a:pt x="251" y="119"/>
                      </a:lnTo>
                      <a:lnTo>
                        <a:pt x="262" y="142"/>
                      </a:lnTo>
                      <a:lnTo>
                        <a:pt x="291" y="125"/>
                      </a:lnTo>
                      <a:lnTo>
                        <a:pt x="279" y="181"/>
                      </a:lnTo>
                      <a:lnTo>
                        <a:pt x="359" y="181"/>
                      </a:lnTo>
                      <a:lnTo>
                        <a:pt x="451" y="289"/>
                      </a:lnTo>
                      <a:lnTo>
                        <a:pt x="439" y="295"/>
                      </a:lnTo>
                      <a:lnTo>
                        <a:pt x="399" y="278"/>
                      </a:lnTo>
                      <a:lnTo>
                        <a:pt x="405" y="300"/>
                      </a:lnTo>
                      <a:lnTo>
                        <a:pt x="376" y="346"/>
                      </a:lnTo>
                      <a:lnTo>
                        <a:pt x="314" y="283"/>
                      </a:lnTo>
                      <a:lnTo>
                        <a:pt x="297" y="295"/>
                      </a:lnTo>
                      <a:lnTo>
                        <a:pt x="297" y="351"/>
                      </a:lnTo>
                      <a:lnTo>
                        <a:pt x="228" y="289"/>
                      </a:lnTo>
                      <a:lnTo>
                        <a:pt x="165" y="346"/>
                      </a:lnTo>
                      <a:lnTo>
                        <a:pt x="125" y="351"/>
                      </a:lnTo>
                      <a:lnTo>
                        <a:pt x="120" y="323"/>
                      </a:lnTo>
                      <a:lnTo>
                        <a:pt x="74" y="363"/>
                      </a:lnTo>
                      <a:lnTo>
                        <a:pt x="40" y="368"/>
                      </a:lnTo>
                      <a:lnTo>
                        <a:pt x="11" y="295"/>
                      </a:lnTo>
                      <a:lnTo>
                        <a:pt x="34" y="255"/>
                      </a:lnTo>
                      <a:lnTo>
                        <a:pt x="17" y="227"/>
                      </a:lnTo>
                      <a:lnTo>
                        <a:pt x="28" y="210"/>
                      </a:lnTo>
                      <a:lnTo>
                        <a:pt x="0" y="176"/>
                      </a:lnTo>
                      <a:lnTo>
                        <a:pt x="6" y="130"/>
                      </a:lnTo>
                      <a:lnTo>
                        <a:pt x="40" y="96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97" name="Freeform 38"/>
                <p:cNvSpPr>
                  <a:spLocks/>
                </p:cNvSpPr>
                <p:nvPr/>
              </p:nvSpPr>
              <p:spPr bwMode="auto">
                <a:xfrm>
                  <a:off x="3777" y="1432"/>
                  <a:ext cx="502" cy="550"/>
                </a:xfrm>
                <a:custGeom>
                  <a:avLst/>
                  <a:gdLst/>
                  <a:ahLst/>
                  <a:cxnLst>
                    <a:cxn ang="0">
                      <a:pos x="114" y="86"/>
                    </a:cxn>
                    <a:cxn ang="0">
                      <a:pos x="199" y="86"/>
                    </a:cxn>
                    <a:cxn ang="0">
                      <a:pos x="222" y="46"/>
                    </a:cxn>
                    <a:cxn ang="0">
                      <a:pos x="188" y="34"/>
                    </a:cxn>
                    <a:cxn ang="0">
                      <a:pos x="205" y="0"/>
                    </a:cxn>
                    <a:cxn ang="0">
                      <a:pos x="251" y="23"/>
                    </a:cxn>
                    <a:cxn ang="0">
                      <a:pos x="279" y="12"/>
                    </a:cxn>
                    <a:cxn ang="0">
                      <a:pos x="296" y="29"/>
                    </a:cxn>
                    <a:cxn ang="0">
                      <a:pos x="313" y="69"/>
                    </a:cxn>
                    <a:cxn ang="0">
                      <a:pos x="331" y="80"/>
                    </a:cxn>
                    <a:cxn ang="0">
                      <a:pos x="336" y="114"/>
                    </a:cxn>
                    <a:cxn ang="0">
                      <a:pos x="285" y="154"/>
                    </a:cxn>
                    <a:cxn ang="0">
                      <a:pos x="365" y="216"/>
                    </a:cxn>
                    <a:cxn ang="0">
                      <a:pos x="405" y="216"/>
                    </a:cxn>
                    <a:cxn ang="0">
                      <a:pos x="439" y="261"/>
                    </a:cxn>
                    <a:cxn ang="0">
                      <a:pos x="502" y="307"/>
                    </a:cxn>
                    <a:cxn ang="0">
                      <a:pos x="456" y="318"/>
                    </a:cxn>
                    <a:cxn ang="0">
                      <a:pos x="393" y="358"/>
                    </a:cxn>
                    <a:cxn ang="0">
                      <a:pos x="405" y="392"/>
                    </a:cxn>
                    <a:cxn ang="0">
                      <a:pos x="376" y="432"/>
                    </a:cxn>
                    <a:cxn ang="0">
                      <a:pos x="336" y="409"/>
                    </a:cxn>
                    <a:cxn ang="0">
                      <a:pos x="291" y="403"/>
                    </a:cxn>
                    <a:cxn ang="0">
                      <a:pos x="245" y="432"/>
                    </a:cxn>
                    <a:cxn ang="0">
                      <a:pos x="256" y="460"/>
                    </a:cxn>
                    <a:cxn ang="0">
                      <a:pos x="211" y="522"/>
                    </a:cxn>
                    <a:cxn ang="0">
                      <a:pos x="165" y="522"/>
                    </a:cxn>
                    <a:cxn ang="0">
                      <a:pos x="137" y="551"/>
                    </a:cxn>
                    <a:cxn ang="0">
                      <a:pos x="79" y="505"/>
                    </a:cxn>
                    <a:cxn ang="0">
                      <a:pos x="57" y="454"/>
                    </a:cxn>
                    <a:cxn ang="0">
                      <a:pos x="22" y="437"/>
                    </a:cxn>
                    <a:cxn ang="0">
                      <a:pos x="0" y="380"/>
                    </a:cxn>
                    <a:cxn ang="0">
                      <a:pos x="5" y="341"/>
                    </a:cxn>
                    <a:cxn ang="0">
                      <a:pos x="57" y="301"/>
                    </a:cxn>
                    <a:cxn ang="0">
                      <a:pos x="91" y="301"/>
                    </a:cxn>
                    <a:cxn ang="0">
                      <a:pos x="91" y="210"/>
                    </a:cxn>
                    <a:cxn ang="0">
                      <a:pos x="114" y="171"/>
                    </a:cxn>
                    <a:cxn ang="0">
                      <a:pos x="108" y="120"/>
                    </a:cxn>
                    <a:cxn ang="0">
                      <a:pos x="114" y="86"/>
                    </a:cxn>
                  </a:cxnLst>
                  <a:rect l="0" t="0" r="r" b="b"/>
                  <a:pathLst>
                    <a:path w="502" h="551">
                      <a:moveTo>
                        <a:pt x="114" y="86"/>
                      </a:moveTo>
                      <a:lnTo>
                        <a:pt x="199" y="86"/>
                      </a:lnTo>
                      <a:lnTo>
                        <a:pt x="222" y="46"/>
                      </a:lnTo>
                      <a:lnTo>
                        <a:pt x="188" y="34"/>
                      </a:lnTo>
                      <a:lnTo>
                        <a:pt x="205" y="0"/>
                      </a:lnTo>
                      <a:lnTo>
                        <a:pt x="251" y="23"/>
                      </a:lnTo>
                      <a:lnTo>
                        <a:pt x="279" y="12"/>
                      </a:lnTo>
                      <a:lnTo>
                        <a:pt x="296" y="29"/>
                      </a:lnTo>
                      <a:lnTo>
                        <a:pt x="313" y="69"/>
                      </a:lnTo>
                      <a:lnTo>
                        <a:pt x="331" y="80"/>
                      </a:lnTo>
                      <a:lnTo>
                        <a:pt x="336" y="114"/>
                      </a:lnTo>
                      <a:lnTo>
                        <a:pt x="285" y="154"/>
                      </a:lnTo>
                      <a:lnTo>
                        <a:pt x="365" y="216"/>
                      </a:lnTo>
                      <a:lnTo>
                        <a:pt x="405" y="216"/>
                      </a:lnTo>
                      <a:lnTo>
                        <a:pt x="439" y="261"/>
                      </a:lnTo>
                      <a:lnTo>
                        <a:pt x="502" y="307"/>
                      </a:lnTo>
                      <a:lnTo>
                        <a:pt x="456" y="318"/>
                      </a:lnTo>
                      <a:lnTo>
                        <a:pt x="393" y="358"/>
                      </a:lnTo>
                      <a:lnTo>
                        <a:pt x="405" y="392"/>
                      </a:lnTo>
                      <a:lnTo>
                        <a:pt x="376" y="432"/>
                      </a:lnTo>
                      <a:lnTo>
                        <a:pt x="336" y="409"/>
                      </a:lnTo>
                      <a:lnTo>
                        <a:pt x="291" y="403"/>
                      </a:lnTo>
                      <a:lnTo>
                        <a:pt x="245" y="432"/>
                      </a:lnTo>
                      <a:lnTo>
                        <a:pt x="256" y="460"/>
                      </a:lnTo>
                      <a:lnTo>
                        <a:pt x="211" y="522"/>
                      </a:lnTo>
                      <a:lnTo>
                        <a:pt x="165" y="522"/>
                      </a:lnTo>
                      <a:lnTo>
                        <a:pt x="137" y="551"/>
                      </a:lnTo>
                      <a:lnTo>
                        <a:pt x="79" y="505"/>
                      </a:lnTo>
                      <a:lnTo>
                        <a:pt x="57" y="454"/>
                      </a:lnTo>
                      <a:lnTo>
                        <a:pt x="22" y="437"/>
                      </a:lnTo>
                      <a:lnTo>
                        <a:pt x="0" y="380"/>
                      </a:lnTo>
                      <a:lnTo>
                        <a:pt x="5" y="341"/>
                      </a:lnTo>
                      <a:lnTo>
                        <a:pt x="57" y="301"/>
                      </a:lnTo>
                      <a:lnTo>
                        <a:pt x="91" y="301"/>
                      </a:lnTo>
                      <a:lnTo>
                        <a:pt x="91" y="210"/>
                      </a:lnTo>
                      <a:lnTo>
                        <a:pt x="114" y="171"/>
                      </a:lnTo>
                      <a:lnTo>
                        <a:pt x="108" y="120"/>
                      </a:lnTo>
                      <a:lnTo>
                        <a:pt x="114" y="86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98" name="Freeform 41"/>
                <p:cNvSpPr>
                  <a:spLocks/>
                </p:cNvSpPr>
                <p:nvPr/>
              </p:nvSpPr>
              <p:spPr bwMode="auto">
                <a:xfrm>
                  <a:off x="3209" y="1206"/>
                  <a:ext cx="617" cy="461"/>
                </a:xfrm>
                <a:custGeom>
                  <a:avLst/>
                  <a:gdLst>
                    <a:gd name="T0" fmla="*/ 263 w 617"/>
                    <a:gd name="T1" fmla="*/ 102 h 460"/>
                    <a:gd name="T2" fmla="*/ 308 w 617"/>
                    <a:gd name="T3" fmla="*/ 131 h 460"/>
                    <a:gd name="T4" fmla="*/ 331 w 617"/>
                    <a:gd name="T5" fmla="*/ 102 h 460"/>
                    <a:gd name="T6" fmla="*/ 405 w 617"/>
                    <a:gd name="T7" fmla="*/ 85 h 460"/>
                    <a:gd name="T8" fmla="*/ 405 w 617"/>
                    <a:gd name="T9" fmla="*/ 23 h 460"/>
                    <a:gd name="T10" fmla="*/ 440 w 617"/>
                    <a:gd name="T11" fmla="*/ 0 h 460"/>
                    <a:gd name="T12" fmla="*/ 468 w 617"/>
                    <a:gd name="T13" fmla="*/ 40 h 460"/>
                    <a:gd name="T14" fmla="*/ 491 w 617"/>
                    <a:gd name="T15" fmla="*/ 40 h 460"/>
                    <a:gd name="T16" fmla="*/ 525 w 617"/>
                    <a:gd name="T17" fmla="*/ 85 h 460"/>
                    <a:gd name="T18" fmla="*/ 565 w 617"/>
                    <a:gd name="T19" fmla="*/ 80 h 460"/>
                    <a:gd name="T20" fmla="*/ 542 w 617"/>
                    <a:gd name="T21" fmla="*/ 148 h 460"/>
                    <a:gd name="T22" fmla="*/ 571 w 617"/>
                    <a:gd name="T23" fmla="*/ 216 h 460"/>
                    <a:gd name="T24" fmla="*/ 599 w 617"/>
                    <a:gd name="T25" fmla="*/ 238 h 460"/>
                    <a:gd name="T26" fmla="*/ 617 w 617"/>
                    <a:gd name="T27" fmla="*/ 278 h 460"/>
                    <a:gd name="T28" fmla="*/ 571 w 617"/>
                    <a:gd name="T29" fmla="*/ 324 h 460"/>
                    <a:gd name="T30" fmla="*/ 537 w 617"/>
                    <a:gd name="T31" fmla="*/ 290 h 460"/>
                    <a:gd name="T32" fmla="*/ 502 w 617"/>
                    <a:gd name="T33" fmla="*/ 301 h 460"/>
                    <a:gd name="T34" fmla="*/ 502 w 617"/>
                    <a:gd name="T35" fmla="*/ 341 h 460"/>
                    <a:gd name="T36" fmla="*/ 440 w 617"/>
                    <a:gd name="T37" fmla="*/ 380 h 460"/>
                    <a:gd name="T38" fmla="*/ 417 w 617"/>
                    <a:gd name="T39" fmla="*/ 363 h 460"/>
                    <a:gd name="T40" fmla="*/ 371 w 617"/>
                    <a:gd name="T41" fmla="*/ 363 h 460"/>
                    <a:gd name="T42" fmla="*/ 360 w 617"/>
                    <a:gd name="T43" fmla="*/ 341 h 460"/>
                    <a:gd name="T44" fmla="*/ 320 w 617"/>
                    <a:gd name="T45" fmla="*/ 363 h 460"/>
                    <a:gd name="T46" fmla="*/ 263 w 617"/>
                    <a:gd name="T47" fmla="*/ 369 h 460"/>
                    <a:gd name="T48" fmla="*/ 263 w 617"/>
                    <a:gd name="T49" fmla="*/ 403 h 460"/>
                    <a:gd name="T50" fmla="*/ 280 w 617"/>
                    <a:gd name="T51" fmla="*/ 414 h 460"/>
                    <a:gd name="T52" fmla="*/ 217 w 617"/>
                    <a:gd name="T53" fmla="*/ 460 h 460"/>
                    <a:gd name="T54" fmla="*/ 183 w 617"/>
                    <a:gd name="T55" fmla="*/ 443 h 460"/>
                    <a:gd name="T56" fmla="*/ 154 w 617"/>
                    <a:gd name="T57" fmla="*/ 363 h 460"/>
                    <a:gd name="T58" fmla="*/ 109 w 617"/>
                    <a:gd name="T59" fmla="*/ 358 h 460"/>
                    <a:gd name="T60" fmla="*/ 92 w 617"/>
                    <a:gd name="T61" fmla="*/ 312 h 460"/>
                    <a:gd name="T62" fmla="*/ 69 w 617"/>
                    <a:gd name="T63" fmla="*/ 278 h 460"/>
                    <a:gd name="T64" fmla="*/ 35 w 617"/>
                    <a:gd name="T65" fmla="*/ 273 h 460"/>
                    <a:gd name="T66" fmla="*/ 35 w 617"/>
                    <a:gd name="T67" fmla="*/ 244 h 460"/>
                    <a:gd name="T68" fmla="*/ 0 w 617"/>
                    <a:gd name="T69" fmla="*/ 216 h 460"/>
                    <a:gd name="T70" fmla="*/ 0 w 617"/>
                    <a:gd name="T71" fmla="*/ 193 h 460"/>
                    <a:gd name="T72" fmla="*/ 40 w 617"/>
                    <a:gd name="T73" fmla="*/ 204 h 460"/>
                    <a:gd name="T74" fmla="*/ 57 w 617"/>
                    <a:gd name="T75" fmla="*/ 187 h 460"/>
                    <a:gd name="T76" fmla="*/ 92 w 617"/>
                    <a:gd name="T77" fmla="*/ 199 h 460"/>
                    <a:gd name="T78" fmla="*/ 92 w 617"/>
                    <a:gd name="T79" fmla="*/ 159 h 460"/>
                    <a:gd name="T80" fmla="*/ 132 w 617"/>
                    <a:gd name="T81" fmla="*/ 159 h 460"/>
                    <a:gd name="T82" fmla="*/ 177 w 617"/>
                    <a:gd name="T83" fmla="*/ 114 h 460"/>
                    <a:gd name="T84" fmla="*/ 234 w 617"/>
                    <a:gd name="T85" fmla="*/ 119 h 460"/>
                    <a:gd name="T86" fmla="*/ 263 w 617"/>
                    <a:gd name="T87" fmla="*/ 102 h 46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617"/>
                    <a:gd name="T133" fmla="*/ 0 h 460"/>
                    <a:gd name="T134" fmla="*/ 617 w 617"/>
                    <a:gd name="T135" fmla="*/ 460 h 46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617" h="460">
                      <a:moveTo>
                        <a:pt x="263" y="102"/>
                      </a:moveTo>
                      <a:lnTo>
                        <a:pt x="308" y="131"/>
                      </a:lnTo>
                      <a:lnTo>
                        <a:pt x="331" y="102"/>
                      </a:lnTo>
                      <a:lnTo>
                        <a:pt x="405" y="85"/>
                      </a:lnTo>
                      <a:lnTo>
                        <a:pt x="405" y="23"/>
                      </a:lnTo>
                      <a:lnTo>
                        <a:pt x="440" y="0"/>
                      </a:lnTo>
                      <a:lnTo>
                        <a:pt x="468" y="40"/>
                      </a:lnTo>
                      <a:lnTo>
                        <a:pt x="491" y="40"/>
                      </a:lnTo>
                      <a:lnTo>
                        <a:pt x="525" y="85"/>
                      </a:lnTo>
                      <a:lnTo>
                        <a:pt x="565" y="80"/>
                      </a:lnTo>
                      <a:lnTo>
                        <a:pt x="542" y="148"/>
                      </a:lnTo>
                      <a:lnTo>
                        <a:pt x="571" y="216"/>
                      </a:lnTo>
                      <a:lnTo>
                        <a:pt x="599" y="238"/>
                      </a:lnTo>
                      <a:lnTo>
                        <a:pt x="617" y="278"/>
                      </a:lnTo>
                      <a:lnTo>
                        <a:pt x="571" y="324"/>
                      </a:lnTo>
                      <a:lnTo>
                        <a:pt x="537" y="290"/>
                      </a:lnTo>
                      <a:lnTo>
                        <a:pt x="502" y="301"/>
                      </a:lnTo>
                      <a:lnTo>
                        <a:pt x="502" y="341"/>
                      </a:lnTo>
                      <a:lnTo>
                        <a:pt x="440" y="380"/>
                      </a:lnTo>
                      <a:lnTo>
                        <a:pt x="417" y="363"/>
                      </a:lnTo>
                      <a:lnTo>
                        <a:pt x="371" y="363"/>
                      </a:lnTo>
                      <a:lnTo>
                        <a:pt x="360" y="341"/>
                      </a:lnTo>
                      <a:lnTo>
                        <a:pt x="320" y="363"/>
                      </a:lnTo>
                      <a:lnTo>
                        <a:pt x="263" y="369"/>
                      </a:lnTo>
                      <a:lnTo>
                        <a:pt x="263" y="403"/>
                      </a:lnTo>
                      <a:lnTo>
                        <a:pt x="280" y="414"/>
                      </a:lnTo>
                      <a:lnTo>
                        <a:pt x="217" y="460"/>
                      </a:lnTo>
                      <a:lnTo>
                        <a:pt x="183" y="443"/>
                      </a:lnTo>
                      <a:lnTo>
                        <a:pt x="154" y="363"/>
                      </a:lnTo>
                      <a:lnTo>
                        <a:pt x="109" y="358"/>
                      </a:lnTo>
                      <a:lnTo>
                        <a:pt x="92" y="312"/>
                      </a:lnTo>
                      <a:lnTo>
                        <a:pt x="69" y="278"/>
                      </a:lnTo>
                      <a:lnTo>
                        <a:pt x="35" y="273"/>
                      </a:lnTo>
                      <a:lnTo>
                        <a:pt x="35" y="244"/>
                      </a:lnTo>
                      <a:lnTo>
                        <a:pt x="0" y="216"/>
                      </a:lnTo>
                      <a:lnTo>
                        <a:pt x="0" y="193"/>
                      </a:lnTo>
                      <a:lnTo>
                        <a:pt x="40" y="204"/>
                      </a:lnTo>
                      <a:lnTo>
                        <a:pt x="57" y="187"/>
                      </a:lnTo>
                      <a:lnTo>
                        <a:pt x="92" y="199"/>
                      </a:lnTo>
                      <a:lnTo>
                        <a:pt x="92" y="159"/>
                      </a:lnTo>
                      <a:lnTo>
                        <a:pt x="132" y="159"/>
                      </a:lnTo>
                      <a:lnTo>
                        <a:pt x="177" y="114"/>
                      </a:lnTo>
                      <a:lnTo>
                        <a:pt x="234" y="119"/>
                      </a:lnTo>
                      <a:lnTo>
                        <a:pt x="263" y="102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" name="Freeform 42"/>
                <p:cNvSpPr>
                  <a:spLocks/>
                </p:cNvSpPr>
                <p:nvPr/>
              </p:nvSpPr>
              <p:spPr bwMode="auto">
                <a:xfrm>
                  <a:off x="3651" y="928"/>
                  <a:ext cx="599" cy="591"/>
                </a:xfrm>
                <a:custGeom>
                  <a:avLst/>
                  <a:gdLst/>
                  <a:ahLst/>
                  <a:cxnLst>
                    <a:cxn ang="0">
                      <a:pos x="108" y="148"/>
                    </a:cxn>
                    <a:cxn ang="0">
                      <a:pos x="80" y="80"/>
                    </a:cxn>
                    <a:cxn ang="0">
                      <a:pos x="142" y="40"/>
                    </a:cxn>
                    <a:cxn ang="0">
                      <a:pos x="182" y="46"/>
                    </a:cxn>
                    <a:cxn ang="0">
                      <a:pos x="222" y="34"/>
                    </a:cxn>
                    <a:cxn ang="0">
                      <a:pos x="239" y="6"/>
                    </a:cxn>
                    <a:cxn ang="0">
                      <a:pos x="262" y="0"/>
                    </a:cxn>
                    <a:cxn ang="0">
                      <a:pos x="314" y="57"/>
                    </a:cxn>
                    <a:cxn ang="0">
                      <a:pos x="314" y="91"/>
                    </a:cxn>
                    <a:cxn ang="0">
                      <a:pos x="388" y="199"/>
                    </a:cxn>
                    <a:cxn ang="0">
                      <a:pos x="388" y="216"/>
                    </a:cxn>
                    <a:cxn ang="0">
                      <a:pos x="422" y="222"/>
                    </a:cxn>
                    <a:cxn ang="0">
                      <a:pos x="450" y="284"/>
                    </a:cxn>
                    <a:cxn ang="0">
                      <a:pos x="508" y="335"/>
                    </a:cxn>
                    <a:cxn ang="0">
                      <a:pos x="513" y="358"/>
                    </a:cxn>
                    <a:cxn ang="0">
                      <a:pos x="559" y="380"/>
                    </a:cxn>
                    <a:cxn ang="0">
                      <a:pos x="599" y="431"/>
                    </a:cxn>
                    <a:cxn ang="0">
                      <a:pos x="508" y="505"/>
                    </a:cxn>
                    <a:cxn ang="0">
                      <a:pos x="490" y="482"/>
                    </a:cxn>
                    <a:cxn ang="0">
                      <a:pos x="433" y="528"/>
                    </a:cxn>
                    <a:cxn ang="0">
                      <a:pos x="411" y="511"/>
                    </a:cxn>
                    <a:cxn ang="0">
                      <a:pos x="388" y="522"/>
                    </a:cxn>
                    <a:cxn ang="0">
                      <a:pos x="336" y="494"/>
                    </a:cxn>
                    <a:cxn ang="0">
                      <a:pos x="325" y="528"/>
                    </a:cxn>
                    <a:cxn ang="0">
                      <a:pos x="353" y="545"/>
                    </a:cxn>
                    <a:cxn ang="0">
                      <a:pos x="336" y="579"/>
                    </a:cxn>
                    <a:cxn ang="0">
                      <a:pos x="251" y="590"/>
                    </a:cxn>
                    <a:cxn ang="0">
                      <a:pos x="216" y="562"/>
                    </a:cxn>
                    <a:cxn ang="0">
                      <a:pos x="177" y="556"/>
                    </a:cxn>
                    <a:cxn ang="0">
                      <a:pos x="159" y="516"/>
                    </a:cxn>
                    <a:cxn ang="0">
                      <a:pos x="131" y="488"/>
                    </a:cxn>
                    <a:cxn ang="0">
                      <a:pos x="102" y="431"/>
                    </a:cxn>
                    <a:cxn ang="0">
                      <a:pos x="125" y="358"/>
                    </a:cxn>
                    <a:cxn ang="0">
                      <a:pos x="85" y="358"/>
                    </a:cxn>
                    <a:cxn ang="0">
                      <a:pos x="51" y="318"/>
                    </a:cxn>
                    <a:cxn ang="0">
                      <a:pos x="28" y="318"/>
                    </a:cxn>
                    <a:cxn ang="0">
                      <a:pos x="0" y="278"/>
                    </a:cxn>
                    <a:cxn ang="0">
                      <a:pos x="0" y="256"/>
                    </a:cxn>
                    <a:cxn ang="0">
                      <a:pos x="17" y="267"/>
                    </a:cxn>
                    <a:cxn ang="0">
                      <a:pos x="17" y="227"/>
                    </a:cxn>
                    <a:cxn ang="0">
                      <a:pos x="45" y="176"/>
                    </a:cxn>
                    <a:cxn ang="0">
                      <a:pos x="108" y="148"/>
                    </a:cxn>
                  </a:cxnLst>
                  <a:rect l="0" t="0" r="r" b="b"/>
                  <a:pathLst>
                    <a:path w="599" h="590">
                      <a:moveTo>
                        <a:pt x="108" y="148"/>
                      </a:moveTo>
                      <a:lnTo>
                        <a:pt x="80" y="80"/>
                      </a:lnTo>
                      <a:lnTo>
                        <a:pt x="142" y="40"/>
                      </a:lnTo>
                      <a:lnTo>
                        <a:pt x="182" y="46"/>
                      </a:lnTo>
                      <a:lnTo>
                        <a:pt x="222" y="34"/>
                      </a:lnTo>
                      <a:lnTo>
                        <a:pt x="239" y="6"/>
                      </a:lnTo>
                      <a:lnTo>
                        <a:pt x="262" y="0"/>
                      </a:lnTo>
                      <a:lnTo>
                        <a:pt x="314" y="57"/>
                      </a:lnTo>
                      <a:lnTo>
                        <a:pt x="314" y="91"/>
                      </a:lnTo>
                      <a:lnTo>
                        <a:pt x="388" y="199"/>
                      </a:lnTo>
                      <a:lnTo>
                        <a:pt x="388" y="216"/>
                      </a:lnTo>
                      <a:lnTo>
                        <a:pt x="422" y="222"/>
                      </a:lnTo>
                      <a:lnTo>
                        <a:pt x="450" y="284"/>
                      </a:lnTo>
                      <a:lnTo>
                        <a:pt x="508" y="335"/>
                      </a:lnTo>
                      <a:lnTo>
                        <a:pt x="513" y="358"/>
                      </a:lnTo>
                      <a:lnTo>
                        <a:pt x="559" y="380"/>
                      </a:lnTo>
                      <a:lnTo>
                        <a:pt x="599" y="431"/>
                      </a:lnTo>
                      <a:lnTo>
                        <a:pt x="508" y="505"/>
                      </a:lnTo>
                      <a:lnTo>
                        <a:pt x="490" y="482"/>
                      </a:lnTo>
                      <a:lnTo>
                        <a:pt x="433" y="528"/>
                      </a:lnTo>
                      <a:lnTo>
                        <a:pt x="411" y="511"/>
                      </a:lnTo>
                      <a:lnTo>
                        <a:pt x="388" y="522"/>
                      </a:lnTo>
                      <a:lnTo>
                        <a:pt x="336" y="494"/>
                      </a:lnTo>
                      <a:lnTo>
                        <a:pt x="325" y="528"/>
                      </a:lnTo>
                      <a:lnTo>
                        <a:pt x="353" y="545"/>
                      </a:lnTo>
                      <a:lnTo>
                        <a:pt x="336" y="579"/>
                      </a:lnTo>
                      <a:lnTo>
                        <a:pt x="251" y="590"/>
                      </a:lnTo>
                      <a:lnTo>
                        <a:pt x="216" y="562"/>
                      </a:lnTo>
                      <a:lnTo>
                        <a:pt x="177" y="556"/>
                      </a:lnTo>
                      <a:lnTo>
                        <a:pt x="159" y="516"/>
                      </a:lnTo>
                      <a:lnTo>
                        <a:pt x="131" y="488"/>
                      </a:lnTo>
                      <a:lnTo>
                        <a:pt x="102" y="431"/>
                      </a:lnTo>
                      <a:lnTo>
                        <a:pt x="125" y="358"/>
                      </a:lnTo>
                      <a:lnTo>
                        <a:pt x="85" y="358"/>
                      </a:lnTo>
                      <a:lnTo>
                        <a:pt x="51" y="318"/>
                      </a:lnTo>
                      <a:lnTo>
                        <a:pt x="28" y="318"/>
                      </a:lnTo>
                      <a:lnTo>
                        <a:pt x="0" y="278"/>
                      </a:lnTo>
                      <a:lnTo>
                        <a:pt x="0" y="256"/>
                      </a:lnTo>
                      <a:lnTo>
                        <a:pt x="17" y="267"/>
                      </a:lnTo>
                      <a:lnTo>
                        <a:pt x="17" y="227"/>
                      </a:lnTo>
                      <a:lnTo>
                        <a:pt x="45" y="176"/>
                      </a:lnTo>
                      <a:lnTo>
                        <a:pt x="108" y="148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0" name="Freeform 44"/>
                <p:cNvSpPr>
                  <a:spLocks/>
                </p:cNvSpPr>
                <p:nvPr/>
              </p:nvSpPr>
              <p:spPr bwMode="auto">
                <a:xfrm>
                  <a:off x="3431" y="1484"/>
                  <a:ext cx="471" cy="386"/>
                </a:xfrm>
                <a:custGeom>
                  <a:avLst/>
                  <a:gdLst/>
                  <a:ahLst/>
                  <a:cxnLst>
                    <a:cxn ang="0">
                      <a:pos x="131" y="68"/>
                    </a:cxn>
                    <a:cxn ang="0">
                      <a:pos x="154" y="85"/>
                    </a:cxn>
                    <a:cxn ang="0">
                      <a:pos x="194" y="85"/>
                    </a:cxn>
                    <a:cxn ang="0">
                      <a:pos x="217" y="102"/>
                    </a:cxn>
                    <a:cxn ang="0">
                      <a:pos x="279" y="63"/>
                    </a:cxn>
                    <a:cxn ang="0">
                      <a:pos x="279" y="23"/>
                    </a:cxn>
                    <a:cxn ang="0">
                      <a:pos x="314" y="12"/>
                    </a:cxn>
                    <a:cxn ang="0">
                      <a:pos x="348" y="46"/>
                    </a:cxn>
                    <a:cxn ang="0">
                      <a:pos x="394" y="0"/>
                    </a:cxn>
                    <a:cxn ang="0">
                      <a:pos x="433" y="6"/>
                    </a:cxn>
                    <a:cxn ang="0">
                      <a:pos x="468" y="29"/>
                    </a:cxn>
                    <a:cxn ang="0">
                      <a:pos x="456" y="63"/>
                    </a:cxn>
                    <a:cxn ang="0">
                      <a:pos x="468" y="119"/>
                    </a:cxn>
                    <a:cxn ang="0">
                      <a:pos x="445" y="148"/>
                    </a:cxn>
                    <a:cxn ang="0">
                      <a:pos x="445" y="244"/>
                    </a:cxn>
                    <a:cxn ang="0">
                      <a:pos x="411" y="244"/>
                    </a:cxn>
                    <a:cxn ang="0">
                      <a:pos x="359" y="284"/>
                    </a:cxn>
                    <a:cxn ang="0">
                      <a:pos x="348" y="329"/>
                    </a:cxn>
                    <a:cxn ang="0">
                      <a:pos x="200" y="386"/>
                    </a:cxn>
                    <a:cxn ang="0">
                      <a:pos x="188" y="352"/>
                    </a:cxn>
                    <a:cxn ang="0">
                      <a:pos x="137" y="278"/>
                    </a:cxn>
                    <a:cxn ang="0">
                      <a:pos x="108" y="272"/>
                    </a:cxn>
                    <a:cxn ang="0">
                      <a:pos x="108" y="227"/>
                    </a:cxn>
                    <a:cxn ang="0">
                      <a:pos x="85" y="210"/>
                    </a:cxn>
                    <a:cxn ang="0">
                      <a:pos x="40" y="238"/>
                    </a:cxn>
                    <a:cxn ang="0">
                      <a:pos x="0" y="176"/>
                    </a:cxn>
                    <a:cxn ang="0">
                      <a:pos x="63" y="136"/>
                    </a:cxn>
                    <a:cxn ang="0">
                      <a:pos x="40" y="119"/>
                    </a:cxn>
                    <a:cxn ang="0">
                      <a:pos x="40" y="91"/>
                    </a:cxn>
                    <a:cxn ang="0">
                      <a:pos x="97" y="85"/>
                    </a:cxn>
                    <a:cxn ang="0">
                      <a:pos x="131" y="68"/>
                    </a:cxn>
                  </a:cxnLst>
                  <a:rect l="0" t="0" r="r" b="b"/>
                  <a:pathLst>
                    <a:path w="468" h="386">
                      <a:moveTo>
                        <a:pt x="131" y="68"/>
                      </a:moveTo>
                      <a:lnTo>
                        <a:pt x="154" y="85"/>
                      </a:lnTo>
                      <a:lnTo>
                        <a:pt x="194" y="85"/>
                      </a:lnTo>
                      <a:lnTo>
                        <a:pt x="217" y="102"/>
                      </a:lnTo>
                      <a:lnTo>
                        <a:pt x="279" y="63"/>
                      </a:lnTo>
                      <a:lnTo>
                        <a:pt x="279" y="23"/>
                      </a:lnTo>
                      <a:lnTo>
                        <a:pt x="314" y="12"/>
                      </a:lnTo>
                      <a:lnTo>
                        <a:pt x="348" y="46"/>
                      </a:lnTo>
                      <a:lnTo>
                        <a:pt x="394" y="0"/>
                      </a:lnTo>
                      <a:lnTo>
                        <a:pt x="433" y="6"/>
                      </a:lnTo>
                      <a:lnTo>
                        <a:pt x="468" y="29"/>
                      </a:lnTo>
                      <a:lnTo>
                        <a:pt x="456" y="63"/>
                      </a:lnTo>
                      <a:lnTo>
                        <a:pt x="468" y="119"/>
                      </a:lnTo>
                      <a:lnTo>
                        <a:pt x="445" y="148"/>
                      </a:lnTo>
                      <a:lnTo>
                        <a:pt x="445" y="244"/>
                      </a:lnTo>
                      <a:lnTo>
                        <a:pt x="411" y="244"/>
                      </a:lnTo>
                      <a:lnTo>
                        <a:pt x="359" y="284"/>
                      </a:lnTo>
                      <a:lnTo>
                        <a:pt x="348" y="329"/>
                      </a:lnTo>
                      <a:lnTo>
                        <a:pt x="200" y="386"/>
                      </a:lnTo>
                      <a:lnTo>
                        <a:pt x="188" y="352"/>
                      </a:lnTo>
                      <a:lnTo>
                        <a:pt x="137" y="278"/>
                      </a:lnTo>
                      <a:lnTo>
                        <a:pt x="108" y="272"/>
                      </a:lnTo>
                      <a:lnTo>
                        <a:pt x="108" y="227"/>
                      </a:lnTo>
                      <a:lnTo>
                        <a:pt x="85" y="210"/>
                      </a:lnTo>
                      <a:lnTo>
                        <a:pt x="40" y="238"/>
                      </a:lnTo>
                      <a:lnTo>
                        <a:pt x="0" y="176"/>
                      </a:lnTo>
                      <a:lnTo>
                        <a:pt x="63" y="136"/>
                      </a:lnTo>
                      <a:lnTo>
                        <a:pt x="40" y="119"/>
                      </a:lnTo>
                      <a:lnTo>
                        <a:pt x="40" y="91"/>
                      </a:lnTo>
                      <a:lnTo>
                        <a:pt x="97" y="85"/>
                      </a:lnTo>
                      <a:lnTo>
                        <a:pt x="131" y="68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3"/>
                </a:fillRef>
                <a:effectRef idx="1">
                  <a:schemeClr val="accent3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1" name="Freeform 46"/>
                <p:cNvSpPr>
                  <a:spLocks/>
                </p:cNvSpPr>
                <p:nvPr/>
              </p:nvSpPr>
              <p:spPr bwMode="auto">
                <a:xfrm>
                  <a:off x="2863" y="1384"/>
                  <a:ext cx="532" cy="441"/>
                </a:xfrm>
                <a:custGeom>
                  <a:avLst/>
                  <a:gdLst/>
                  <a:ahLst/>
                  <a:cxnLst>
                    <a:cxn ang="0">
                      <a:pos x="109" y="40"/>
                    </a:cxn>
                    <a:cxn ang="0">
                      <a:pos x="166" y="45"/>
                    </a:cxn>
                    <a:cxn ang="0">
                      <a:pos x="177" y="17"/>
                    </a:cxn>
                    <a:cxn ang="0">
                      <a:pos x="217" y="0"/>
                    </a:cxn>
                    <a:cxn ang="0">
                      <a:pos x="297" y="0"/>
                    </a:cxn>
                    <a:cxn ang="0">
                      <a:pos x="325" y="11"/>
                    </a:cxn>
                    <a:cxn ang="0">
                      <a:pos x="343" y="6"/>
                    </a:cxn>
                    <a:cxn ang="0">
                      <a:pos x="343" y="23"/>
                    </a:cxn>
                    <a:cxn ang="0">
                      <a:pos x="343" y="40"/>
                    </a:cxn>
                    <a:cxn ang="0">
                      <a:pos x="383" y="74"/>
                    </a:cxn>
                    <a:cxn ang="0">
                      <a:pos x="383" y="102"/>
                    </a:cxn>
                    <a:cxn ang="0">
                      <a:pos x="417" y="108"/>
                    </a:cxn>
                    <a:cxn ang="0">
                      <a:pos x="451" y="187"/>
                    </a:cxn>
                    <a:cxn ang="0">
                      <a:pos x="502" y="193"/>
                    </a:cxn>
                    <a:cxn ang="0">
                      <a:pos x="531" y="272"/>
                    </a:cxn>
                    <a:cxn ang="0">
                      <a:pos x="497" y="295"/>
                    </a:cxn>
                    <a:cxn ang="0">
                      <a:pos x="468" y="289"/>
                    </a:cxn>
                    <a:cxn ang="0">
                      <a:pos x="383" y="357"/>
                    </a:cxn>
                    <a:cxn ang="0">
                      <a:pos x="337" y="357"/>
                    </a:cxn>
                    <a:cxn ang="0">
                      <a:pos x="291" y="442"/>
                    </a:cxn>
                    <a:cxn ang="0">
                      <a:pos x="228" y="408"/>
                    </a:cxn>
                    <a:cxn ang="0">
                      <a:pos x="177" y="397"/>
                    </a:cxn>
                    <a:cxn ang="0">
                      <a:pos x="166" y="369"/>
                    </a:cxn>
                    <a:cxn ang="0">
                      <a:pos x="131" y="380"/>
                    </a:cxn>
                    <a:cxn ang="0">
                      <a:pos x="57" y="357"/>
                    </a:cxn>
                    <a:cxn ang="0">
                      <a:pos x="80" y="318"/>
                    </a:cxn>
                    <a:cxn ang="0">
                      <a:pos x="12" y="267"/>
                    </a:cxn>
                    <a:cxn ang="0">
                      <a:pos x="0" y="238"/>
                    </a:cxn>
                    <a:cxn ang="0">
                      <a:pos x="6" y="216"/>
                    </a:cxn>
                    <a:cxn ang="0">
                      <a:pos x="23" y="216"/>
                    </a:cxn>
                    <a:cxn ang="0">
                      <a:pos x="63" y="187"/>
                    </a:cxn>
                    <a:cxn ang="0">
                      <a:pos x="80" y="97"/>
                    </a:cxn>
                    <a:cxn ang="0">
                      <a:pos x="57" y="57"/>
                    </a:cxn>
                    <a:cxn ang="0">
                      <a:pos x="86" y="57"/>
                    </a:cxn>
                    <a:cxn ang="0">
                      <a:pos x="109" y="40"/>
                    </a:cxn>
                  </a:cxnLst>
                  <a:rect l="0" t="0" r="r" b="b"/>
                  <a:pathLst>
                    <a:path w="531" h="442">
                      <a:moveTo>
                        <a:pt x="109" y="40"/>
                      </a:moveTo>
                      <a:lnTo>
                        <a:pt x="166" y="45"/>
                      </a:lnTo>
                      <a:lnTo>
                        <a:pt x="177" y="17"/>
                      </a:lnTo>
                      <a:lnTo>
                        <a:pt x="217" y="0"/>
                      </a:lnTo>
                      <a:lnTo>
                        <a:pt x="297" y="0"/>
                      </a:lnTo>
                      <a:lnTo>
                        <a:pt x="325" y="11"/>
                      </a:lnTo>
                      <a:lnTo>
                        <a:pt x="343" y="6"/>
                      </a:lnTo>
                      <a:lnTo>
                        <a:pt x="343" y="23"/>
                      </a:lnTo>
                      <a:lnTo>
                        <a:pt x="343" y="40"/>
                      </a:lnTo>
                      <a:lnTo>
                        <a:pt x="383" y="74"/>
                      </a:lnTo>
                      <a:lnTo>
                        <a:pt x="383" y="102"/>
                      </a:lnTo>
                      <a:lnTo>
                        <a:pt x="417" y="108"/>
                      </a:lnTo>
                      <a:lnTo>
                        <a:pt x="451" y="187"/>
                      </a:lnTo>
                      <a:lnTo>
                        <a:pt x="502" y="193"/>
                      </a:lnTo>
                      <a:lnTo>
                        <a:pt x="531" y="272"/>
                      </a:lnTo>
                      <a:lnTo>
                        <a:pt x="497" y="295"/>
                      </a:lnTo>
                      <a:lnTo>
                        <a:pt x="468" y="289"/>
                      </a:lnTo>
                      <a:lnTo>
                        <a:pt x="383" y="357"/>
                      </a:lnTo>
                      <a:lnTo>
                        <a:pt x="337" y="357"/>
                      </a:lnTo>
                      <a:lnTo>
                        <a:pt x="291" y="442"/>
                      </a:lnTo>
                      <a:lnTo>
                        <a:pt x="228" y="408"/>
                      </a:lnTo>
                      <a:lnTo>
                        <a:pt x="177" y="397"/>
                      </a:lnTo>
                      <a:lnTo>
                        <a:pt x="166" y="369"/>
                      </a:lnTo>
                      <a:lnTo>
                        <a:pt x="131" y="380"/>
                      </a:lnTo>
                      <a:lnTo>
                        <a:pt x="57" y="357"/>
                      </a:lnTo>
                      <a:lnTo>
                        <a:pt x="80" y="318"/>
                      </a:lnTo>
                      <a:lnTo>
                        <a:pt x="12" y="267"/>
                      </a:lnTo>
                      <a:lnTo>
                        <a:pt x="0" y="238"/>
                      </a:lnTo>
                      <a:lnTo>
                        <a:pt x="6" y="216"/>
                      </a:lnTo>
                      <a:lnTo>
                        <a:pt x="23" y="216"/>
                      </a:lnTo>
                      <a:lnTo>
                        <a:pt x="63" y="187"/>
                      </a:lnTo>
                      <a:lnTo>
                        <a:pt x="80" y="97"/>
                      </a:lnTo>
                      <a:lnTo>
                        <a:pt x="57" y="57"/>
                      </a:lnTo>
                      <a:lnTo>
                        <a:pt x="86" y="57"/>
                      </a:lnTo>
                      <a:lnTo>
                        <a:pt x="109" y="40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2" name="Freeform 49"/>
                <p:cNvSpPr>
                  <a:spLocks/>
                </p:cNvSpPr>
                <p:nvPr/>
              </p:nvSpPr>
              <p:spPr bwMode="auto">
                <a:xfrm>
                  <a:off x="2594" y="2148"/>
                  <a:ext cx="599" cy="516"/>
                </a:xfrm>
                <a:custGeom>
                  <a:avLst/>
                  <a:gdLst>
                    <a:gd name="T0" fmla="*/ 257 w 599"/>
                    <a:gd name="T1" fmla="*/ 68 h 516"/>
                    <a:gd name="T2" fmla="*/ 291 w 599"/>
                    <a:gd name="T3" fmla="*/ 102 h 516"/>
                    <a:gd name="T4" fmla="*/ 320 w 599"/>
                    <a:gd name="T5" fmla="*/ 68 h 516"/>
                    <a:gd name="T6" fmla="*/ 366 w 599"/>
                    <a:gd name="T7" fmla="*/ 56 h 516"/>
                    <a:gd name="T8" fmla="*/ 377 w 599"/>
                    <a:gd name="T9" fmla="*/ 85 h 516"/>
                    <a:gd name="T10" fmla="*/ 428 w 599"/>
                    <a:gd name="T11" fmla="*/ 11 h 516"/>
                    <a:gd name="T12" fmla="*/ 468 w 599"/>
                    <a:gd name="T13" fmla="*/ 28 h 516"/>
                    <a:gd name="T14" fmla="*/ 485 w 599"/>
                    <a:gd name="T15" fmla="*/ 0 h 516"/>
                    <a:gd name="T16" fmla="*/ 520 w 599"/>
                    <a:gd name="T17" fmla="*/ 0 h 516"/>
                    <a:gd name="T18" fmla="*/ 520 w 599"/>
                    <a:gd name="T19" fmla="*/ 91 h 516"/>
                    <a:gd name="T20" fmla="*/ 588 w 599"/>
                    <a:gd name="T21" fmla="*/ 113 h 516"/>
                    <a:gd name="T22" fmla="*/ 599 w 599"/>
                    <a:gd name="T23" fmla="*/ 142 h 516"/>
                    <a:gd name="T24" fmla="*/ 565 w 599"/>
                    <a:gd name="T25" fmla="*/ 159 h 516"/>
                    <a:gd name="T26" fmla="*/ 531 w 599"/>
                    <a:gd name="T27" fmla="*/ 147 h 516"/>
                    <a:gd name="T28" fmla="*/ 514 w 599"/>
                    <a:gd name="T29" fmla="*/ 198 h 516"/>
                    <a:gd name="T30" fmla="*/ 468 w 599"/>
                    <a:gd name="T31" fmla="*/ 221 h 516"/>
                    <a:gd name="T32" fmla="*/ 451 w 599"/>
                    <a:gd name="T33" fmla="*/ 261 h 516"/>
                    <a:gd name="T34" fmla="*/ 417 w 599"/>
                    <a:gd name="T35" fmla="*/ 278 h 516"/>
                    <a:gd name="T36" fmla="*/ 405 w 599"/>
                    <a:gd name="T37" fmla="*/ 329 h 516"/>
                    <a:gd name="T38" fmla="*/ 411 w 599"/>
                    <a:gd name="T39" fmla="*/ 374 h 516"/>
                    <a:gd name="T40" fmla="*/ 354 w 599"/>
                    <a:gd name="T41" fmla="*/ 374 h 516"/>
                    <a:gd name="T42" fmla="*/ 320 w 599"/>
                    <a:gd name="T43" fmla="*/ 408 h 516"/>
                    <a:gd name="T44" fmla="*/ 297 w 599"/>
                    <a:gd name="T45" fmla="*/ 391 h 516"/>
                    <a:gd name="T46" fmla="*/ 274 w 599"/>
                    <a:gd name="T47" fmla="*/ 402 h 516"/>
                    <a:gd name="T48" fmla="*/ 274 w 599"/>
                    <a:gd name="T49" fmla="*/ 431 h 516"/>
                    <a:gd name="T50" fmla="*/ 320 w 599"/>
                    <a:gd name="T51" fmla="*/ 442 h 516"/>
                    <a:gd name="T52" fmla="*/ 308 w 599"/>
                    <a:gd name="T53" fmla="*/ 471 h 516"/>
                    <a:gd name="T54" fmla="*/ 331 w 599"/>
                    <a:gd name="T55" fmla="*/ 476 h 516"/>
                    <a:gd name="T56" fmla="*/ 320 w 599"/>
                    <a:gd name="T57" fmla="*/ 516 h 516"/>
                    <a:gd name="T58" fmla="*/ 274 w 599"/>
                    <a:gd name="T59" fmla="*/ 510 h 516"/>
                    <a:gd name="T60" fmla="*/ 206 w 599"/>
                    <a:gd name="T61" fmla="*/ 419 h 516"/>
                    <a:gd name="T62" fmla="*/ 132 w 599"/>
                    <a:gd name="T63" fmla="*/ 419 h 516"/>
                    <a:gd name="T64" fmla="*/ 69 w 599"/>
                    <a:gd name="T65" fmla="*/ 459 h 516"/>
                    <a:gd name="T66" fmla="*/ 0 w 599"/>
                    <a:gd name="T67" fmla="*/ 471 h 516"/>
                    <a:gd name="T68" fmla="*/ 0 w 599"/>
                    <a:gd name="T69" fmla="*/ 391 h 516"/>
                    <a:gd name="T70" fmla="*/ 92 w 599"/>
                    <a:gd name="T71" fmla="*/ 368 h 516"/>
                    <a:gd name="T72" fmla="*/ 109 w 599"/>
                    <a:gd name="T73" fmla="*/ 278 h 516"/>
                    <a:gd name="T74" fmla="*/ 137 w 599"/>
                    <a:gd name="T75" fmla="*/ 221 h 516"/>
                    <a:gd name="T76" fmla="*/ 189 w 599"/>
                    <a:gd name="T77" fmla="*/ 215 h 516"/>
                    <a:gd name="T78" fmla="*/ 200 w 599"/>
                    <a:gd name="T79" fmla="*/ 130 h 516"/>
                    <a:gd name="T80" fmla="*/ 257 w 599"/>
                    <a:gd name="T81" fmla="*/ 68 h 51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599"/>
                    <a:gd name="T124" fmla="*/ 0 h 516"/>
                    <a:gd name="T125" fmla="*/ 599 w 599"/>
                    <a:gd name="T126" fmla="*/ 516 h 51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599" h="516">
                      <a:moveTo>
                        <a:pt x="257" y="68"/>
                      </a:moveTo>
                      <a:lnTo>
                        <a:pt x="291" y="102"/>
                      </a:lnTo>
                      <a:lnTo>
                        <a:pt x="320" y="68"/>
                      </a:lnTo>
                      <a:lnTo>
                        <a:pt x="366" y="56"/>
                      </a:lnTo>
                      <a:lnTo>
                        <a:pt x="377" y="85"/>
                      </a:lnTo>
                      <a:lnTo>
                        <a:pt x="428" y="11"/>
                      </a:lnTo>
                      <a:lnTo>
                        <a:pt x="468" y="28"/>
                      </a:lnTo>
                      <a:lnTo>
                        <a:pt x="485" y="0"/>
                      </a:lnTo>
                      <a:lnTo>
                        <a:pt x="520" y="0"/>
                      </a:lnTo>
                      <a:lnTo>
                        <a:pt x="520" y="91"/>
                      </a:lnTo>
                      <a:lnTo>
                        <a:pt x="588" y="113"/>
                      </a:lnTo>
                      <a:lnTo>
                        <a:pt x="599" y="142"/>
                      </a:lnTo>
                      <a:lnTo>
                        <a:pt x="565" y="159"/>
                      </a:lnTo>
                      <a:lnTo>
                        <a:pt x="531" y="147"/>
                      </a:lnTo>
                      <a:lnTo>
                        <a:pt x="514" y="198"/>
                      </a:lnTo>
                      <a:lnTo>
                        <a:pt x="468" y="221"/>
                      </a:lnTo>
                      <a:lnTo>
                        <a:pt x="451" y="261"/>
                      </a:lnTo>
                      <a:lnTo>
                        <a:pt x="417" y="278"/>
                      </a:lnTo>
                      <a:lnTo>
                        <a:pt x="405" y="329"/>
                      </a:lnTo>
                      <a:lnTo>
                        <a:pt x="411" y="374"/>
                      </a:lnTo>
                      <a:lnTo>
                        <a:pt x="354" y="374"/>
                      </a:lnTo>
                      <a:lnTo>
                        <a:pt x="320" y="408"/>
                      </a:lnTo>
                      <a:lnTo>
                        <a:pt x="297" y="391"/>
                      </a:lnTo>
                      <a:lnTo>
                        <a:pt x="274" y="402"/>
                      </a:lnTo>
                      <a:lnTo>
                        <a:pt x="274" y="431"/>
                      </a:lnTo>
                      <a:lnTo>
                        <a:pt x="320" y="442"/>
                      </a:lnTo>
                      <a:lnTo>
                        <a:pt x="308" y="471"/>
                      </a:lnTo>
                      <a:lnTo>
                        <a:pt x="331" y="476"/>
                      </a:lnTo>
                      <a:lnTo>
                        <a:pt x="320" y="516"/>
                      </a:lnTo>
                      <a:lnTo>
                        <a:pt x="274" y="510"/>
                      </a:lnTo>
                      <a:lnTo>
                        <a:pt x="206" y="419"/>
                      </a:lnTo>
                      <a:lnTo>
                        <a:pt x="132" y="419"/>
                      </a:lnTo>
                      <a:lnTo>
                        <a:pt x="69" y="459"/>
                      </a:lnTo>
                      <a:lnTo>
                        <a:pt x="0" y="471"/>
                      </a:lnTo>
                      <a:lnTo>
                        <a:pt x="0" y="391"/>
                      </a:lnTo>
                      <a:lnTo>
                        <a:pt x="92" y="368"/>
                      </a:lnTo>
                      <a:lnTo>
                        <a:pt x="109" y="278"/>
                      </a:lnTo>
                      <a:lnTo>
                        <a:pt x="137" y="221"/>
                      </a:lnTo>
                      <a:lnTo>
                        <a:pt x="189" y="215"/>
                      </a:lnTo>
                      <a:lnTo>
                        <a:pt x="200" y="130"/>
                      </a:lnTo>
                      <a:lnTo>
                        <a:pt x="257" y="68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" name="Freeform 50"/>
                <p:cNvSpPr>
                  <a:spLocks/>
                </p:cNvSpPr>
                <p:nvPr/>
              </p:nvSpPr>
              <p:spPr bwMode="auto">
                <a:xfrm>
                  <a:off x="2920" y="1653"/>
                  <a:ext cx="586" cy="715"/>
                </a:xfrm>
                <a:custGeom>
                  <a:avLst/>
                  <a:gdLst/>
                  <a:ahLst/>
                  <a:cxnLst>
                    <a:cxn ang="0">
                      <a:pos x="0" y="85"/>
                    </a:cxn>
                    <a:cxn ang="0">
                      <a:pos x="74" y="102"/>
                    </a:cxn>
                    <a:cxn ang="0">
                      <a:pos x="102" y="97"/>
                    </a:cxn>
                    <a:cxn ang="0">
                      <a:pos x="114" y="125"/>
                    </a:cxn>
                    <a:cxn ang="0">
                      <a:pos x="159" y="131"/>
                    </a:cxn>
                    <a:cxn ang="0">
                      <a:pos x="228" y="165"/>
                    </a:cxn>
                    <a:cxn ang="0">
                      <a:pos x="274" y="91"/>
                    </a:cxn>
                    <a:cxn ang="0">
                      <a:pos x="314" y="91"/>
                    </a:cxn>
                    <a:cxn ang="0">
                      <a:pos x="405" y="17"/>
                    </a:cxn>
                    <a:cxn ang="0">
                      <a:pos x="433" y="23"/>
                    </a:cxn>
                    <a:cxn ang="0">
                      <a:pos x="462" y="0"/>
                    </a:cxn>
                    <a:cxn ang="0">
                      <a:pos x="508" y="12"/>
                    </a:cxn>
                    <a:cxn ang="0">
                      <a:pos x="536" y="68"/>
                    </a:cxn>
                    <a:cxn ang="0">
                      <a:pos x="513" y="102"/>
                    </a:cxn>
                    <a:cxn ang="0">
                      <a:pos x="525" y="142"/>
                    </a:cxn>
                    <a:cxn ang="0">
                      <a:pos x="513" y="165"/>
                    </a:cxn>
                    <a:cxn ang="0">
                      <a:pos x="553" y="205"/>
                    </a:cxn>
                    <a:cxn ang="0">
                      <a:pos x="525" y="227"/>
                    </a:cxn>
                    <a:cxn ang="0">
                      <a:pos x="559" y="244"/>
                    </a:cxn>
                    <a:cxn ang="0">
                      <a:pos x="553" y="312"/>
                    </a:cxn>
                    <a:cxn ang="0">
                      <a:pos x="525" y="363"/>
                    </a:cxn>
                    <a:cxn ang="0">
                      <a:pos x="536" y="403"/>
                    </a:cxn>
                    <a:cxn ang="0">
                      <a:pos x="513" y="460"/>
                    </a:cxn>
                    <a:cxn ang="0">
                      <a:pos x="565" y="499"/>
                    </a:cxn>
                    <a:cxn ang="0">
                      <a:pos x="536" y="528"/>
                    </a:cxn>
                    <a:cxn ang="0">
                      <a:pos x="530" y="579"/>
                    </a:cxn>
                    <a:cxn ang="0">
                      <a:pos x="485" y="664"/>
                    </a:cxn>
                    <a:cxn ang="0">
                      <a:pos x="450" y="692"/>
                    </a:cxn>
                    <a:cxn ang="0">
                      <a:pos x="422" y="687"/>
                    </a:cxn>
                    <a:cxn ang="0">
                      <a:pos x="388" y="715"/>
                    </a:cxn>
                    <a:cxn ang="0">
                      <a:pos x="325" y="687"/>
                    </a:cxn>
                    <a:cxn ang="0">
                      <a:pos x="314" y="647"/>
                    </a:cxn>
                    <a:cxn ang="0">
                      <a:pos x="268" y="630"/>
                    </a:cxn>
                    <a:cxn ang="0">
                      <a:pos x="251" y="607"/>
                    </a:cxn>
                    <a:cxn ang="0">
                      <a:pos x="188" y="585"/>
                    </a:cxn>
                    <a:cxn ang="0">
                      <a:pos x="188" y="488"/>
                    </a:cxn>
                    <a:cxn ang="0">
                      <a:pos x="148" y="494"/>
                    </a:cxn>
                    <a:cxn ang="0">
                      <a:pos x="131" y="516"/>
                    </a:cxn>
                    <a:cxn ang="0">
                      <a:pos x="91" y="499"/>
                    </a:cxn>
                    <a:cxn ang="0">
                      <a:pos x="51" y="499"/>
                    </a:cxn>
                    <a:cxn ang="0">
                      <a:pos x="40" y="465"/>
                    </a:cxn>
                    <a:cxn ang="0">
                      <a:pos x="74" y="465"/>
                    </a:cxn>
                    <a:cxn ang="0">
                      <a:pos x="91" y="380"/>
                    </a:cxn>
                    <a:cxn ang="0">
                      <a:pos x="120" y="324"/>
                    </a:cxn>
                    <a:cxn ang="0">
                      <a:pos x="114" y="290"/>
                    </a:cxn>
                    <a:cxn ang="0">
                      <a:pos x="148" y="239"/>
                    </a:cxn>
                    <a:cxn ang="0">
                      <a:pos x="142" y="182"/>
                    </a:cxn>
                    <a:cxn ang="0">
                      <a:pos x="74" y="142"/>
                    </a:cxn>
                    <a:cxn ang="0">
                      <a:pos x="51" y="142"/>
                    </a:cxn>
                    <a:cxn ang="0">
                      <a:pos x="0" y="85"/>
                    </a:cxn>
                  </a:cxnLst>
                  <a:rect l="0" t="0" r="r" b="b"/>
                  <a:pathLst>
                    <a:path w="565" h="715">
                      <a:moveTo>
                        <a:pt x="0" y="85"/>
                      </a:moveTo>
                      <a:lnTo>
                        <a:pt x="74" y="102"/>
                      </a:lnTo>
                      <a:lnTo>
                        <a:pt x="102" y="97"/>
                      </a:lnTo>
                      <a:lnTo>
                        <a:pt x="114" y="125"/>
                      </a:lnTo>
                      <a:lnTo>
                        <a:pt x="159" y="131"/>
                      </a:lnTo>
                      <a:lnTo>
                        <a:pt x="228" y="165"/>
                      </a:lnTo>
                      <a:lnTo>
                        <a:pt x="274" y="91"/>
                      </a:lnTo>
                      <a:lnTo>
                        <a:pt x="314" y="91"/>
                      </a:lnTo>
                      <a:lnTo>
                        <a:pt x="405" y="17"/>
                      </a:lnTo>
                      <a:lnTo>
                        <a:pt x="433" y="23"/>
                      </a:lnTo>
                      <a:lnTo>
                        <a:pt x="462" y="0"/>
                      </a:lnTo>
                      <a:lnTo>
                        <a:pt x="508" y="12"/>
                      </a:lnTo>
                      <a:lnTo>
                        <a:pt x="536" y="68"/>
                      </a:lnTo>
                      <a:lnTo>
                        <a:pt x="513" y="102"/>
                      </a:lnTo>
                      <a:lnTo>
                        <a:pt x="525" y="142"/>
                      </a:lnTo>
                      <a:lnTo>
                        <a:pt x="513" y="165"/>
                      </a:lnTo>
                      <a:lnTo>
                        <a:pt x="553" y="205"/>
                      </a:lnTo>
                      <a:lnTo>
                        <a:pt x="525" y="227"/>
                      </a:lnTo>
                      <a:lnTo>
                        <a:pt x="559" y="244"/>
                      </a:lnTo>
                      <a:lnTo>
                        <a:pt x="553" y="312"/>
                      </a:lnTo>
                      <a:lnTo>
                        <a:pt x="525" y="363"/>
                      </a:lnTo>
                      <a:lnTo>
                        <a:pt x="536" y="403"/>
                      </a:lnTo>
                      <a:lnTo>
                        <a:pt x="513" y="460"/>
                      </a:lnTo>
                      <a:lnTo>
                        <a:pt x="565" y="499"/>
                      </a:lnTo>
                      <a:lnTo>
                        <a:pt x="536" y="528"/>
                      </a:lnTo>
                      <a:lnTo>
                        <a:pt x="530" y="579"/>
                      </a:lnTo>
                      <a:lnTo>
                        <a:pt x="485" y="664"/>
                      </a:lnTo>
                      <a:lnTo>
                        <a:pt x="450" y="692"/>
                      </a:lnTo>
                      <a:lnTo>
                        <a:pt x="422" y="687"/>
                      </a:lnTo>
                      <a:lnTo>
                        <a:pt x="388" y="715"/>
                      </a:lnTo>
                      <a:lnTo>
                        <a:pt x="325" y="687"/>
                      </a:lnTo>
                      <a:lnTo>
                        <a:pt x="314" y="647"/>
                      </a:lnTo>
                      <a:lnTo>
                        <a:pt x="268" y="630"/>
                      </a:lnTo>
                      <a:lnTo>
                        <a:pt x="251" y="607"/>
                      </a:lnTo>
                      <a:lnTo>
                        <a:pt x="188" y="585"/>
                      </a:lnTo>
                      <a:lnTo>
                        <a:pt x="188" y="488"/>
                      </a:lnTo>
                      <a:lnTo>
                        <a:pt x="148" y="494"/>
                      </a:lnTo>
                      <a:lnTo>
                        <a:pt x="131" y="516"/>
                      </a:lnTo>
                      <a:lnTo>
                        <a:pt x="91" y="499"/>
                      </a:lnTo>
                      <a:lnTo>
                        <a:pt x="51" y="499"/>
                      </a:lnTo>
                      <a:lnTo>
                        <a:pt x="40" y="465"/>
                      </a:lnTo>
                      <a:lnTo>
                        <a:pt x="74" y="465"/>
                      </a:lnTo>
                      <a:lnTo>
                        <a:pt x="91" y="380"/>
                      </a:lnTo>
                      <a:lnTo>
                        <a:pt x="120" y="324"/>
                      </a:lnTo>
                      <a:lnTo>
                        <a:pt x="114" y="290"/>
                      </a:lnTo>
                      <a:lnTo>
                        <a:pt x="148" y="239"/>
                      </a:lnTo>
                      <a:lnTo>
                        <a:pt x="142" y="182"/>
                      </a:lnTo>
                      <a:lnTo>
                        <a:pt x="74" y="142"/>
                      </a:lnTo>
                      <a:lnTo>
                        <a:pt x="51" y="142"/>
                      </a:lnTo>
                      <a:lnTo>
                        <a:pt x="0" y="85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4" name="Freeform 52"/>
                <p:cNvSpPr>
                  <a:spLocks/>
                </p:cNvSpPr>
                <p:nvPr/>
              </p:nvSpPr>
              <p:spPr bwMode="auto">
                <a:xfrm>
                  <a:off x="3209" y="2324"/>
                  <a:ext cx="583" cy="579"/>
                </a:xfrm>
                <a:custGeom>
                  <a:avLst/>
                  <a:gdLst/>
                  <a:ahLst/>
                  <a:cxnLst>
                    <a:cxn ang="0">
                      <a:pos x="103" y="45"/>
                    </a:cxn>
                    <a:cxn ang="0">
                      <a:pos x="143" y="22"/>
                    </a:cxn>
                    <a:cxn ang="0">
                      <a:pos x="171" y="28"/>
                    </a:cxn>
                    <a:cxn ang="0">
                      <a:pos x="206" y="0"/>
                    </a:cxn>
                    <a:cxn ang="0">
                      <a:pos x="274" y="45"/>
                    </a:cxn>
                    <a:cxn ang="0">
                      <a:pos x="326" y="45"/>
                    </a:cxn>
                    <a:cxn ang="0">
                      <a:pos x="377" y="113"/>
                    </a:cxn>
                    <a:cxn ang="0">
                      <a:pos x="520" y="102"/>
                    </a:cxn>
                    <a:cxn ang="0">
                      <a:pos x="577" y="141"/>
                    </a:cxn>
                    <a:cxn ang="0">
                      <a:pos x="582" y="209"/>
                    </a:cxn>
                    <a:cxn ang="0">
                      <a:pos x="565" y="260"/>
                    </a:cxn>
                    <a:cxn ang="0">
                      <a:pos x="485" y="357"/>
                    </a:cxn>
                    <a:cxn ang="0">
                      <a:pos x="497" y="402"/>
                    </a:cxn>
                    <a:cxn ang="0">
                      <a:pos x="520" y="397"/>
                    </a:cxn>
                    <a:cxn ang="0">
                      <a:pos x="537" y="453"/>
                    </a:cxn>
                    <a:cxn ang="0">
                      <a:pos x="520" y="476"/>
                    </a:cxn>
                    <a:cxn ang="0">
                      <a:pos x="525" y="533"/>
                    </a:cxn>
                    <a:cxn ang="0">
                      <a:pos x="445" y="561"/>
                    </a:cxn>
                    <a:cxn ang="0">
                      <a:pos x="394" y="561"/>
                    </a:cxn>
                    <a:cxn ang="0">
                      <a:pos x="343" y="578"/>
                    </a:cxn>
                    <a:cxn ang="0">
                      <a:pos x="331" y="504"/>
                    </a:cxn>
                    <a:cxn ang="0">
                      <a:pos x="240" y="482"/>
                    </a:cxn>
                    <a:cxn ang="0">
                      <a:pos x="120" y="476"/>
                    </a:cxn>
                    <a:cxn ang="0">
                      <a:pos x="23" y="425"/>
                    </a:cxn>
                    <a:cxn ang="0">
                      <a:pos x="29" y="408"/>
                    </a:cxn>
                    <a:cxn ang="0">
                      <a:pos x="57" y="408"/>
                    </a:cxn>
                    <a:cxn ang="0">
                      <a:pos x="40" y="363"/>
                    </a:cxn>
                    <a:cxn ang="0">
                      <a:pos x="52" y="357"/>
                    </a:cxn>
                    <a:cxn ang="0">
                      <a:pos x="0" y="266"/>
                    </a:cxn>
                    <a:cxn ang="0">
                      <a:pos x="29" y="255"/>
                    </a:cxn>
                    <a:cxn ang="0">
                      <a:pos x="23" y="209"/>
                    </a:cxn>
                    <a:cxn ang="0">
                      <a:pos x="52" y="187"/>
                    </a:cxn>
                    <a:cxn ang="0">
                      <a:pos x="57" y="147"/>
                    </a:cxn>
                    <a:cxn ang="0">
                      <a:pos x="92" y="153"/>
                    </a:cxn>
                    <a:cxn ang="0">
                      <a:pos x="120" y="113"/>
                    </a:cxn>
                    <a:cxn ang="0">
                      <a:pos x="92" y="79"/>
                    </a:cxn>
                    <a:cxn ang="0">
                      <a:pos x="103" y="45"/>
                    </a:cxn>
                  </a:cxnLst>
                  <a:rect l="0" t="0" r="r" b="b"/>
                  <a:pathLst>
                    <a:path w="582" h="578">
                      <a:moveTo>
                        <a:pt x="103" y="45"/>
                      </a:moveTo>
                      <a:lnTo>
                        <a:pt x="143" y="22"/>
                      </a:lnTo>
                      <a:lnTo>
                        <a:pt x="171" y="28"/>
                      </a:lnTo>
                      <a:lnTo>
                        <a:pt x="206" y="0"/>
                      </a:lnTo>
                      <a:lnTo>
                        <a:pt x="274" y="45"/>
                      </a:lnTo>
                      <a:lnTo>
                        <a:pt x="326" y="45"/>
                      </a:lnTo>
                      <a:lnTo>
                        <a:pt x="377" y="113"/>
                      </a:lnTo>
                      <a:lnTo>
                        <a:pt x="520" y="102"/>
                      </a:lnTo>
                      <a:lnTo>
                        <a:pt x="577" y="141"/>
                      </a:lnTo>
                      <a:lnTo>
                        <a:pt x="582" y="209"/>
                      </a:lnTo>
                      <a:lnTo>
                        <a:pt x="565" y="260"/>
                      </a:lnTo>
                      <a:lnTo>
                        <a:pt x="485" y="357"/>
                      </a:lnTo>
                      <a:lnTo>
                        <a:pt x="497" y="402"/>
                      </a:lnTo>
                      <a:lnTo>
                        <a:pt x="520" y="397"/>
                      </a:lnTo>
                      <a:lnTo>
                        <a:pt x="537" y="453"/>
                      </a:lnTo>
                      <a:lnTo>
                        <a:pt x="520" y="476"/>
                      </a:lnTo>
                      <a:lnTo>
                        <a:pt x="525" y="533"/>
                      </a:lnTo>
                      <a:lnTo>
                        <a:pt x="445" y="561"/>
                      </a:lnTo>
                      <a:lnTo>
                        <a:pt x="394" y="561"/>
                      </a:lnTo>
                      <a:lnTo>
                        <a:pt x="343" y="578"/>
                      </a:lnTo>
                      <a:lnTo>
                        <a:pt x="331" y="504"/>
                      </a:lnTo>
                      <a:lnTo>
                        <a:pt x="240" y="482"/>
                      </a:lnTo>
                      <a:lnTo>
                        <a:pt x="120" y="476"/>
                      </a:lnTo>
                      <a:lnTo>
                        <a:pt x="23" y="425"/>
                      </a:lnTo>
                      <a:lnTo>
                        <a:pt x="29" y="408"/>
                      </a:lnTo>
                      <a:lnTo>
                        <a:pt x="57" y="408"/>
                      </a:lnTo>
                      <a:lnTo>
                        <a:pt x="40" y="363"/>
                      </a:lnTo>
                      <a:lnTo>
                        <a:pt x="52" y="357"/>
                      </a:lnTo>
                      <a:lnTo>
                        <a:pt x="0" y="266"/>
                      </a:lnTo>
                      <a:lnTo>
                        <a:pt x="29" y="255"/>
                      </a:lnTo>
                      <a:lnTo>
                        <a:pt x="23" y="209"/>
                      </a:lnTo>
                      <a:lnTo>
                        <a:pt x="52" y="187"/>
                      </a:lnTo>
                      <a:lnTo>
                        <a:pt x="57" y="147"/>
                      </a:lnTo>
                      <a:lnTo>
                        <a:pt x="92" y="153"/>
                      </a:lnTo>
                      <a:lnTo>
                        <a:pt x="120" y="113"/>
                      </a:lnTo>
                      <a:lnTo>
                        <a:pt x="92" y="79"/>
                      </a:lnTo>
                      <a:lnTo>
                        <a:pt x="103" y="45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5" name="Freeform 56"/>
                <p:cNvSpPr>
                  <a:spLocks/>
                </p:cNvSpPr>
                <p:nvPr/>
              </p:nvSpPr>
              <p:spPr bwMode="auto">
                <a:xfrm>
                  <a:off x="2920" y="2749"/>
                  <a:ext cx="869" cy="773"/>
                </a:xfrm>
                <a:custGeom>
                  <a:avLst/>
                  <a:gdLst/>
                  <a:ahLst/>
                  <a:cxnLst>
                    <a:cxn ang="0">
                      <a:pos x="217" y="85"/>
                    </a:cxn>
                    <a:cxn ang="0">
                      <a:pos x="268" y="68"/>
                    </a:cxn>
                    <a:cxn ang="0">
                      <a:pos x="320" y="0"/>
                    </a:cxn>
                    <a:cxn ang="0">
                      <a:pos x="411" y="57"/>
                    </a:cxn>
                    <a:cxn ang="0">
                      <a:pos x="531" y="62"/>
                    </a:cxn>
                    <a:cxn ang="0">
                      <a:pos x="628" y="85"/>
                    </a:cxn>
                    <a:cxn ang="0">
                      <a:pos x="639" y="153"/>
                    </a:cxn>
                    <a:cxn ang="0">
                      <a:pos x="685" y="136"/>
                    </a:cxn>
                    <a:cxn ang="0">
                      <a:pos x="742" y="136"/>
                    </a:cxn>
                    <a:cxn ang="0">
                      <a:pos x="816" y="113"/>
                    </a:cxn>
                    <a:cxn ang="0">
                      <a:pos x="868" y="113"/>
                    </a:cxn>
                    <a:cxn ang="0">
                      <a:pos x="850" y="193"/>
                    </a:cxn>
                    <a:cxn ang="0">
                      <a:pos x="811" y="267"/>
                    </a:cxn>
                    <a:cxn ang="0">
                      <a:pos x="782" y="267"/>
                    </a:cxn>
                    <a:cxn ang="0">
                      <a:pos x="759" y="306"/>
                    </a:cxn>
                    <a:cxn ang="0">
                      <a:pos x="776" y="346"/>
                    </a:cxn>
                    <a:cxn ang="0">
                      <a:pos x="753" y="380"/>
                    </a:cxn>
                    <a:cxn ang="0">
                      <a:pos x="702" y="380"/>
                    </a:cxn>
                    <a:cxn ang="0">
                      <a:pos x="708" y="425"/>
                    </a:cxn>
                    <a:cxn ang="0">
                      <a:pos x="645" y="431"/>
                    </a:cxn>
                    <a:cxn ang="0">
                      <a:pos x="645" y="363"/>
                    </a:cxn>
                    <a:cxn ang="0">
                      <a:pos x="622" y="335"/>
                    </a:cxn>
                    <a:cxn ang="0">
                      <a:pos x="588" y="352"/>
                    </a:cxn>
                    <a:cxn ang="0">
                      <a:pos x="588" y="391"/>
                    </a:cxn>
                    <a:cxn ang="0">
                      <a:pos x="548" y="408"/>
                    </a:cxn>
                    <a:cxn ang="0">
                      <a:pos x="537" y="454"/>
                    </a:cxn>
                    <a:cxn ang="0">
                      <a:pos x="520" y="454"/>
                    </a:cxn>
                    <a:cxn ang="0">
                      <a:pos x="497" y="471"/>
                    </a:cxn>
                    <a:cxn ang="0">
                      <a:pos x="491" y="533"/>
                    </a:cxn>
                    <a:cxn ang="0">
                      <a:pos x="525" y="527"/>
                    </a:cxn>
                    <a:cxn ang="0">
                      <a:pos x="525" y="561"/>
                    </a:cxn>
                    <a:cxn ang="0">
                      <a:pos x="537" y="647"/>
                    </a:cxn>
                    <a:cxn ang="0">
                      <a:pos x="468" y="692"/>
                    </a:cxn>
                    <a:cxn ang="0">
                      <a:pos x="468" y="732"/>
                    </a:cxn>
                    <a:cxn ang="0">
                      <a:pos x="457" y="760"/>
                    </a:cxn>
                    <a:cxn ang="0">
                      <a:pos x="371" y="771"/>
                    </a:cxn>
                    <a:cxn ang="0">
                      <a:pos x="337" y="737"/>
                    </a:cxn>
                    <a:cxn ang="0">
                      <a:pos x="297" y="749"/>
                    </a:cxn>
                    <a:cxn ang="0">
                      <a:pos x="234" y="664"/>
                    </a:cxn>
                    <a:cxn ang="0">
                      <a:pos x="206" y="664"/>
                    </a:cxn>
                    <a:cxn ang="0">
                      <a:pos x="171" y="703"/>
                    </a:cxn>
                    <a:cxn ang="0">
                      <a:pos x="126" y="692"/>
                    </a:cxn>
                    <a:cxn ang="0">
                      <a:pos x="80" y="652"/>
                    </a:cxn>
                    <a:cxn ang="0">
                      <a:pos x="97" y="590"/>
                    </a:cxn>
                    <a:cxn ang="0">
                      <a:pos x="183" y="522"/>
                    </a:cxn>
                    <a:cxn ang="0">
                      <a:pos x="52" y="465"/>
                    </a:cxn>
                    <a:cxn ang="0">
                      <a:pos x="86" y="414"/>
                    </a:cxn>
                    <a:cxn ang="0">
                      <a:pos x="120" y="408"/>
                    </a:cxn>
                    <a:cxn ang="0">
                      <a:pos x="103" y="380"/>
                    </a:cxn>
                    <a:cxn ang="0">
                      <a:pos x="69" y="335"/>
                    </a:cxn>
                    <a:cxn ang="0">
                      <a:pos x="12" y="335"/>
                    </a:cxn>
                    <a:cxn ang="0">
                      <a:pos x="0" y="301"/>
                    </a:cxn>
                    <a:cxn ang="0">
                      <a:pos x="17" y="261"/>
                    </a:cxn>
                    <a:cxn ang="0">
                      <a:pos x="0" y="232"/>
                    </a:cxn>
                    <a:cxn ang="0">
                      <a:pos x="74" y="204"/>
                    </a:cxn>
                    <a:cxn ang="0">
                      <a:pos x="86" y="187"/>
                    </a:cxn>
                    <a:cxn ang="0">
                      <a:pos x="74" y="164"/>
                    </a:cxn>
                    <a:cxn ang="0">
                      <a:pos x="92" y="142"/>
                    </a:cxn>
                    <a:cxn ang="0">
                      <a:pos x="86" y="102"/>
                    </a:cxn>
                    <a:cxn ang="0">
                      <a:pos x="166" y="142"/>
                    </a:cxn>
                    <a:cxn ang="0">
                      <a:pos x="217" y="85"/>
                    </a:cxn>
                  </a:cxnLst>
                  <a:rect l="0" t="0" r="r" b="b"/>
                  <a:pathLst>
                    <a:path w="868" h="771">
                      <a:moveTo>
                        <a:pt x="217" y="85"/>
                      </a:moveTo>
                      <a:lnTo>
                        <a:pt x="268" y="68"/>
                      </a:lnTo>
                      <a:lnTo>
                        <a:pt x="320" y="0"/>
                      </a:lnTo>
                      <a:lnTo>
                        <a:pt x="411" y="57"/>
                      </a:lnTo>
                      <a:lnTo>
                        <a:pt x="531" y="62"/>
                      </a:lnTo>
                      <a:lnTo>
                        <a:pt x="628" y="85"/>
                      </a:lnTo>
                      <a:lnTo>
                        <a:pt x="639" y="153"/>
                      </a:lnTo>
                      <a:lnTo>
                        <a:pt x="685" y="136"/>
                      </a:lnTo>
                      <a:lnTo>
                        <a:pt x="742" y="136"/>
                      </a:lnTo>
                      <a:lnTo>
                        <a:pt x="816" y="113"/>
                      </a:lnTo>
                      <a:lnTo>
                        <a:pt x="868" y="113"/>
                      </a:lnTo>
                      <a:lnTo>
                        <a:pt x="850" y="193"/>
                      </a:lnTo>
                      <a:lnTo>
                        <a:pt x="811" y="267"/>
                      </a:lnTo>
                      <a:lnTo>
                        <a:pt x="782" y="267"/>
                      </a:lnTo>
                      <a:lnTo>
                        <a:pt x="759" y="306"/>
                      </a:lnTo>
                      <a:lnTo>
                        <a:pt x="776" y="346"/>
                      </a:lnTo>
                      <a:lnTo>
                        <a:pt x="753" y="380"/>
                      </a:lnTo>
                      <a:lnTo>
                        <a:pt x="702" y="380"/>
                      </a:lnTo>
                      <a:lnTo>
                        <a:pt x="708" y="425"/>
                      </a:lnTo>
                      <a:lnTo>
                        <a:pt x="645" y="431"/>
                      </a:lnTo>
                      <a:lnTo>
                        <a:pt x="645" y="363"/>
                      </a:lnTo>
                      <a:lnTo>
                        <a:pt x="622" y="335"/>
                      </a:lnTo>
                      <a:lnTo>
                        <a:pt x="588" y="352"/>
                      </a:lnTo>
                      <a:lnTo>
                        <a:pt x="588" y="391"/>
                      </a:lnTo>
                      <a:lnTo>
                        <a:pt x="548" y="408"/>
                      </a:lnTo>
                      <a:lnTo>
                        <a:pt x="537" y="454"/>
                      </a:lnTo>
                      <a:lnTo>
                        <a:pt x="520" y="454"/>
                      </a:lnTo>
                      <a:lnTo>
                        <a:pt x="497" y="471"/>
                      </a:lnTo>
                      <a:lnTo>
                        <a:pt x="491" y="533"/>
                      </a:lnTo>
                      <a:lnTo>
                        <a:pt x="525" y="527"/>
                      </a:lnTo>
                      <a:lnTo>
                        <a:pt x="525" y="561"/>
                      </a:lnTo>
                      <a:lnTo>
                        <a:pt x="537" y="647"/>
                      </a:lnTo>
                      <a:lnTo>
                        <a:pt x="468" y="692"/>
                      </a:lnTo>
                      <a:lnTo>
                        <a:pt x="468" y="732"/>
                      </a:lnTo>
                      <a:lnTo>
                        <a:pt x="457" y="760"/>
                      </a:lnTo>
                      <a:lnTo>
                        <a:pt x="371" y="771"/>
                      </a:lnTo>
                      <a:lnTo>
                        <a:pt x="337" y="737"/>
                      </a:lnTo>
                      <a:lnTo>
                        <a:pt x="297" y="749"/>
                      </a:lnTo>
                      <a:lnTo>
                        <a:pt x="234" y="664"/>
                      </a:lnTo>
                      <a:lnTo>
                        <a:pt x="206" y="664"/>
                      </a:lnTo>
                      <a:lnTo>
                        <a:pt x="171" y="703"/>
                      </a:lnTo>
                      <a:lnTo>
                        <a:pt x="126" y="692"/>
                      </a:lnTo>
                      <a:lnTo>
                        <a:pt x="80" y="652"/>
                      </a:lnTo>
                      <a:lnTo>
                        <a:pt x="97" y="590"/>
                      </a:lnTo>
                      <a:lnTo>
                        <a:pt x="183" y="522"/>
                      </a:lnTo>
                      <a:lnTo>
                        <a:pt x="52" y="465"/>
                      </a:lnTo>
                      <a:lnTo>
                        <a:pt x="86" y="414"/>
                      </a:lnTo>
                      <a:lnTo>
                        <a:pt x="120" y="408"/>
                      </a:lnTo>
                      <a:lnTo>
                        <a:pt x="103" y="380"/>
                      </a:lnTo>
                      <a:lnTo>
                        <a:pt x="69" y="335"/>
                      </a:lnTo>
                      <a:lnTo>
                        <a:pt x="12" y="335"/>
                      </a:lnTo>
                      <a:lnTo>
                        <a:pt x="0" y="301"/>
                      </a:lnTo>
                      <a:lnTo>
                        <a:pt x="17" y="261"/>
                      </a:lnTo>
                      <a:lnTo>
                        <a:pt x="0" y="232"/>
                      </a:lnTo>
                      <a:lnTo>
                        <a:pt x="74" y="204"/>
                      </a:lnTo>
                      <a:lnTo>
                        <a:pt x="86" y="187"/>
                      </a:lnTo>
                      <a:lnTo>
                        <a:pt x="74" y="164"/>
                      </a:lnTo>
                      <a:lnTo>
                        <a:pt x="92" y="142"/>
                      </a:lnTo>
                      <a:lnTo>
                        <a:pt x="86" y="102"/>
                      </a:lnTo>
                      <a:lnTo>
                        <a:pt x="166" y="142"/>
                      </a:lnTo>
                      <a:lnTo>
                        <a:pt x="217" y="85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3"/>
                </a:fillRef>
                <a:effectRef idx="1">
                  <a:schemeClr val="accent3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6" name="Freeform 58"/>
                <p:cNvSpPr>
                  <a:spLocks/>
                </p:cNvSpPr>
                <p:nvPr/>
              </p:nvSpPr>
              <p:spPr bwMode="auto">
                <a:xfrm>
                  <a:off x="2172" y="3017"/>
                  <a:ext cx="929" cy="588"/>
                </a:xfrm>
                <a:custGeom>
                  <a:avLst/>
                  <a:gdLst/>
                  <a:ahLst/>
                  <a:cxnLst>
                    <a:cxn ang="0">
                      <a:pos x="251" y="28"/>
                    </a:cxn>
                    <a:cxn ang="0">
                      <a:pos x="257" y="85"/>
                    </a:cxn>
                    <a:cxn ang="0">
                      <a:pos x="314" y="102"/>
                    </a:cxn>
                    <a:cxn ang="0">
                      <a:pos x="325" y="147"/>
                    </a:cxn>
                    <a:cxn ang="0">
                      <a:pos x="371" y="164"/>
                    </a:cxn>
                    <a:cxn ang="0">
                      <a:pos x="393" y="141"/>
                    </a:cxn>
                    <a:cxn ang="0">
                      <a:pos x="445" y="158"/>
                    </a:cxn>
                    <a:cxn ang="0">
                      <a:pos x="468" y="124"/>
                    </a:cxn>
                    <a:cxn ang="0">
                      <a:pos x="508" y="209"/>
                    </a:cxn>
                    <a:cxn ang="0">
                      <a:pos x="536" y="209"/>
                    </a:cxn>
                    <a:cxn ang="0">
                      <a:pos x="525" y="238"/>
                    </a:cxn>
                    <a:cxn ang="0">
                      <a:pos x="565" y="289"/>
                    </a:cxn>
                    <a:cxn ang="0">
                      <a:pos x="804" y="113"/>
                    </a:cxn>
                    <a:cxn ang="0">
                      <a:pos x="850" y="119"/>
                    </a:cxn>
                    <a:cxn ang="0">
                      <a:pos x="861" y="141"/>
                    </a:cxn>
                    <a:cxn ang="0">
                      <a:pos x="827" y="147"/>
                    </a:cxn>
                    <a:cxn ang="0">
                      <a:pos x="793" y="198"/>
                    </a:cxn>
                    <a:cxn ang="0">
                      <a:pos x="930" y="260"/>
                    </a:cxn>
                    <a:cxn ang="0">
                      <a:pos x="839" y="323"/>
                    </a:cxn>
                    <a:cxn ang="0">
                      <a:pos x="821" y="385"/>
                    </a:cxn>
                    <a:cxn ang="0">
                      <a:pos x="867" y="425"/>
                    </a:cxn>
                    <a:cxn ang="0">
                      <a:pos x="867" y="487"/>
                    </a:cxn>
                    <a:cxn ang="0">
                      <a:pos x="884" y="504"/>
                    </a:cxn>
                    <a:cxn ang="0">
                      <a:pos x="907" y="493"/>
                    </a:cxn>
                    <a:cxn ang="0">
                      <a:pos x="907" y="527"/>
                    </a:cxn>
                    <a:cxn ang="0">
                      <a:pos x="890" y="561"/>
                    </a:cxn>
                    <a:cxn ang="0">
                      <a:pos x="833" y="550"/>
                    </a:cxn>
                    <a:cxn ang="0">
                      <a:pos x="799" y="567"/>
                    </a:cxn>
                    <a:cxn ang="0">
                      <a:pos x="747" y="550"/>
                    </a:cxn>
                    <a:cxn ang="0">
                      <a:pos x="713" y="578"/>
                    </a:cxn>
                    <a:cxn ang="0">
                      <a:pos x="673" y="550"/>
                    </a:cxn>
                    <a:cxn ang="0">
                      <a:pos x="599" y="589"/>
                    </a:cxn>
                    <a:cxn ang="0">
                      <a:pos x="513" y="578"/>
                    </a:cxn>
                    <a:cxn ang="0">
                      <a:pos x="468" y="521"/>
                    </a:cxn>
                    <a:cxn ang="0">
                      <a:pos x="468" y="487"/>
                    </a:cxn>
                    <a:cxn ang="0">
                      <a:pos x="445" y="482"/>
                    </a:cxn>
                    <a:cxn ang="0">
                      <a:pos x="433" y="510"/>
                    </a:cxn>
                    <a:cxn ang="0">
                      <a:pos x="354" y="436"/>
                    </a:cxn>
                    <a:cxn ang="0">
                      <a:pos x="348" y="363"/>
                    </a:cxn>
                    <a:cxn ang="0">
                      <a:pos x="308" y="385"/>
                    </a:cxn>
                    <a:cxn ang="0">
                      <a:pos x="291" y="340"/>
                    </a:cxn>
                    <a:cxn ang="0">
                      <a:pos x="177" y="294"/>
                    </a:cxn>
                    <a:cxn ang="0">
                      <a:pos x="137" y="221"/>
                    </a:cxn>
                    <a:cxn ang="0">
                      <a:pos x="102" y="215"/>
                    </a:cxn>
                    <a:cxn ang="0">
                      <a:pos x="63" y="238"/>
                    </a:cxn>
                    <a:cxn ang="0">
                      <a:pos x="28" y="204"/>
                    </a:cxn>
                    <a:cxn ang="0">
                      <a:pos x="0" y="175"/>
                    </a:cxn>
                    <a:cxn ang="0">
                      <a:pos x="45" y="130"/>
                    </a:cxn>
                    <a:cxn ang="0">
                      <a:pos x="34" y="68"/>
                    </a:cxn>
                    <a:cxn ang="0">
                      <a:pos x="11" y="39"/>
                    </a:cxn>
                    <a:cxn ang="0">
                      <a:pos x="28" y="11"/>
                    </a:cxn>
                    <a:cxn ang="0">
                      <a:pos x="165" y="0"/>
                    </a:cxn>
                    <a:cxn ang="0">
                      <a:pos x="199" y="28"/>
                    </a:cxn>
                    <a:cxn ang="0">
                      <a:pos x="251" y="28"/>
                    </a:cxn>
                  </a:cxnLst>
                  <a:rect l="0" t="0" r="r" b="b"/>
                  <a:pathLst>
                    <a:path w="930" h="589">
                      <a:moveTo>
                        <a:pt x="251" y="28"/>
                      </a:moveTo>
                      <a:lnTo>
                        <a:pt x="257" y="85"/>
                      </a:lnTo>
                      <a:lnTo>
                        <a:pt x="314" y="102"/>
                      </a:lnTo>
                      <a:lnTo>
                        <a:pt x="325" y="147"/>
                      </a:lnTo>
                      <a:lnTo>
                        <a:pt x="371" y="164"/>
                      </a:lnTo>
                      <a:lnTo>
                        <a:pt x="393" y="141"/>
                      </a:lnTo>
                      <a:lnTo>
                        <a:pt x="445" y="158"/>
                      </a:lnTo>
                      <a:lnTo>
                        <a:pt x="468" y="124"/>
                      </a:lnTo>
                      <a:lnTo>
                        <a:pt x="508" y="209"/>
                      </a:lnTo>
                      <a:lnTo>
                        <a:pt x="536" y="209"/>
                      </a:lnTo>
                      <a:lnTo>
                        <a:pt x="525" y="238"/>
                      </a:lnTo>
                      <a:lnTo>
                        <a:pt x="565" y="289"/>
                      </a:lnTo>
                      <a:lnTo>
                        <a:pt x="804" y="113"/>
                      </a:lnTo>
                      <a:lnTo>
                        <a:pt x="850" y="119"/>
                      </a:lnTo>
                      <a:lnTo>
                        <a:pt x="861" y="141"/>
                      </a:lnTo>
                      <a:lnTo>
                        <a:pt x="827" y="147"/>
                      </a:lnTo>
                      <a:lnTo>
                        <a:pt x="793" y="198"/>
                      </a:lnTo>
                      <a:lnTo>
                        <a:pt x="930" y="260"/>
                      </a:lnTo>
                      <a:lnTo>
                        <a:pt x="839" y="323"/>
                      </a:lnTo>
                      <a:lnTo>
                        <a:pt x="821" y="385"/>
                      </a:lnTo>
                      <a:lnTo>
                        <a:pt x="867" y="425"/>
                      </a:lnTo>
                      <a:lnTo>
                        <a:pt x="867" y="487"/>
                      </a:lnTo>
                      <a:lnTo>
                        <a:pt x="884" y="504"/>
                      </a:lnTo>
                      <a:lnTo>
                        <a:pt x="907" y="493"/>
                      </a:lnTo>
                      <a:lnTo>
                        <a:pt x="907" y="527"/>
                      </a:lnTo>
                      <a:lnTo>
                        <a:pt x="890" y="561"/>
                      </a:lnTo>
                      <a:lnTo>
                        <a:pt x="833" y="550"/>
                      </a:lnTo>
                      <a:lnTo>
                        <a:pt x="799" y="567"/>
                      </a:lnTo>
                      <a:lnTo>
                        <a:pt x="747" y="550"/>
                      </a:lnTo>
                      <a:lnTo>
                        <a:pt x="713" y="578"/>
                      </a:lnTo>
                      <a:lnTo>
                        <a:pt x="673" y="550"/>
                      </a:lnTo>
                      <a:lnTo>
                        <a:pt x="599" y="589"/>
                      </a:lnTo>
                      <a:lnTo>
                        <a:pt x="513" y="578"/>
                      </a:lnTo>
                      <a:lnTo>
                        <a:pt x="468" y="521"/>
                      </a:lnTo>
                      <a:lnTo>
                        <a:pt x="468" y="487"/>
                      </a:lnTo>
                      <a:lnTo>
                        <a:pt x="445" y="482"/>
                      </a:lnTo>
                      <a:lnTo>
                        <a:pt x="433" y="510"/>
                      </a:lnTo>
                      <a:lnTo>
                        <a:pt x="354" y="436"/>
                      </a:lnTo>
                      <a:lnTo>
                        <a:pt x="348" y="363"/>
                      </a:lnTo>
                      <a:lnTo>
                        <a:pt x="308" y="385"/>
                      </a:lnTo>
                      <a:lnTo>
                        <a:pt x="291" y="340"/>
                      </a:lnTo>
                      <a:lnTo>
                        <a:pt x="177" y="294"/>
                      </a:lnTo>
                      <a:lnTo>
                        <a:pt x="137" y="221"/>
                      </a:lnTo>
                      <a:lnTo>
                        <a:pt x="102" y="215"/>
                      </a:lnTo>
                      <a:lnTo>
                        <a:pt x="63" y="238"/>
                      </a:lnTo>
                      <a:lnTo>
                        <a:pt x="28" y="204"/>
                      </a:lnTo>
                      <a:lnTo>
                        <a:pt x="0" y="175"/>
                      </a:lnTo>
                      <a:lnTo>
                        <a:pt x="45" y="130"/>
                      </a:lnTo>
                      <a:lnTo>
                        <a:pt x="34" y="68"/>
                      </a:lnTo>
                      <a:lnTo>
                        <a:pt x="11" y="39"/>
                      </a:lnTo>
                      <a:lnTo>
                        <a:pt x="28" y="11"/>
                      </a:lnTo>
                      <a:lnTo>
                        <a:pt x="165" y="0"/>
                      </a:lnTo>
                      <a:lnTo>
                        <a:pt x="199" y="28"/>
                      </a:lnTo>
                      <a:lnTo>
                        <a:pt x="251" y="28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3"/>
                </a:fillRef>
                <a:effectRef idx="1">
                  <a:schemeClr val="accent3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7" name="Freeform 60"/>
                <p:cNvSpPr>
                  <a:spLocks/>
                </p:cNvSpPr>
                <p:nvPr/>
              </p:nvSpPr>
              <p:spPr bwMode="auto">
                <a:xfrm>
                  <a:off x="2423" y="2567"/>
                  <a:ext cx="599" cy="740"/>
                </a:xfrm>
                <a:custGeom>
                  <a:avLst/>
                  <a:gdLst/>
                  <a:ahLst/>
                  <a:cxnLst>
                    <a:cxn ang="0">
                      <a:pos x="40" y="63"/>
                    </a:cxn>
                    <a:cxn ang="0">
                      <a:pos x="57" y="69"/>
                    </a:cxn>
                    <a:cxn ang="0">
                      <a:pos x="68" y="40"/>
                    </a:cxn>
                    <a:cxn ang="0">
                      <a:pos x="108" y="34"/>
                    </a:cxn>
                    <a:cxn ang="0">
                      <a:pos x="108" y="69"/>
                    </a:cxn>
                    <a:cxn ang="0">
                      <a:pos x="160" y="52"/>
                    </a:cxn>
                    <a:cxn ang="0">
                      <a:pos x="228" y="40"/>
                    </a:cxn>
                    <a:cxn ang="0">
                      <a:pos x="297" y="0"/>
                    </a:cxn>
                    <a:cxn ang="0">
                      <a:pos x="371" y="0"/>
                    </a:cxn>
                    <a:cxn ang="0">
                      <a:pos x="445" y="91"/>
                    </a:cxn>
                    <a:cxn ang="0">
                      <a:pos x="491" y="97"/>
                    </a:cxn>
                    <a:cxn ang="0">
                      <a:pos x="491" y="142"/>
                    </a:cxn>
                    <a:cxn ang="0">
                      <a:pos x="531" y="205"/>
                    </a:cxn>
                    <a:cxn ang="0">
                      <a:pos x="513" y="222"/>
                    </a:cxn>
                    <a:cxn ang="0">
                      <a:pos x="576" y="284"/>
                    </a:cxn>
                    <a:cxn ang="0">
                      <a:pos x="588" y="324"/>
                    </a:cxn>
                    <a:cxn ang="0">
                      <a:pos x="565" y="341"/>
                    </a:cxn>
                    <a:cxn ang="0">
                      <a:pos x="576" y="369"/>
                    </a:cxn>
                    <a:cxn ang="0">
                      <a:pos x="570" y="386"/>
                    </a:cxn>
                    <a:cxn ang="0">
                      <a:pos x="491" y="414"/>
                    </a:cxn>
                    <a:cxn ang="0">
                      <a:pos x="508" y="443"/>
                    </a:cxn>
                    <a:cxn ang="0">
                      <a:pos x="491" y="488"/>
                    </a:cxn>
                    <a:cxn ang="0">
                      <a:pos x="508" y="522"/>
                    </a:cxn>
                    <a:cxn ang="0">
                      <a:pos x="565" y="517"/>
                    </a:cxn>
                    <a:cxn ang="0">
                      <a:pos x="599" y="562"/>
                    </a:cxn>
                    <a:cxn ang="0">
                      <a:pos x="559" y="562"/>
                    </a:cxn>
                    <a:cxn ang="0">
                      <a:pos x="314" y="738"/>
                    </a:cxn>
                    <a:cxn ang="0">
                      <a:pos x="274" y="692"/>
                    </a:cxn>
                    <a:cxn ang="0">
                      <a:pos x="291" y="664"/>
                    </a:cxn>
                    <a:cxn ang="0">
                      <a:pos x="251" y="658"/>
                    </a:cxn>
                    <a:cxn ang="0">
                      <a:pos x="222" y="579"/>
                    </a:cxn>
                    <a:cxn ang="0">
                      <a:pos x="188" y="607"/>
                    </a:cxn>
                    <a:cxn ang="0">
                      <a:pos x="142" y="590"/>
                    </a:cxn>
                    <a:cxn ang="0">
                      <a:pos x="125" y="613"/>
                    </a:cxn>
                    <a:cxn ang="0">
                      <a:pos x="74" y="602"/>
                    </a:cxn>
                    <a:cxn ang="0">
                      <a:pos x="63" y="551"/>
                    </a:cxn>
                    <a:cxn ang="0">
                      <a:pos x="6" y="534"/>
                    </a:cxn>
                    <a:cxn ang="0">
                      <a:pos x="0" y="471"/>
                    </a:cxn>
                    <a:cxn ang="0">
                      <a:pos x="34" y="432"/>
                    </a:cxn>
                    <a:cxn ang="0">
                      <a:pos x="125" y="414"/>
                    </a:cxn>
                    <a:cxn ang="0">
                      <a:pos x="142" y="380"/>
                    </a:cxn>
                    <a:cxn ang="0">
                      <a:pos x="108" y="375"/>
                    </a:cxn>
                    <a:cxn ang="0">
                      <a:pos x="108" y="307"/>
                    </a:cxn>
                    <a:cxn ang="0">
                      <a:pos x="125" y="284"/>
                    </a:cxn>
                    <a:cxn ang="0">
                      <a:pos x="34" y="222"/>
                    </a:cxn>
                    <a:cxn ang="0">
                      <a:pos x="68" y="142"/>
                    </a:cxn>
                    <a:cxn ang="0">
                      <a:pos x="23" y="86"/>
                    </a:cxn>
                    <a:cxn ang="0">
                      <a:pos x="40" y="63"/>
                    </a:cxn>
                  </a:cxnLst>
                  <a:rect l="0" t="0" r="r" b="b"/>
                  <a:pathLst>
                    <a:path w="599" h="738">
                      <a:moveTo>
                        <a:pt x="40" y="63"/>
                      </a:moveTo>
                      <a:lnTo>
                        <a:pt x="57" y="69"/>
                      </a:lnTo>
                      <a:lnTo>
                        <a:pt x="68" y="40"/>
                      </a:lnTo>
                      <a:lnTo>
                        <a:pt x="108" y="34"/>
                      </a:lnTo>
                      <a:lnTo>
                        <a:pt x="108" y="69"/>
                      </a:lnTo>
                      <a:lnTo>
                        <a:pt x="160" y="52"/>
                      </a:lnTo>
                      <a:lnTo>
                        <a:pt x="228" y="40"/>
                      </a:lnTo>
                      <a:lnTo>
                        <a:pt x="297" y="0"/>
                      </a:lnTo>
                      <a:lnTo>
                        <a:pt x="371" y="0"/>
                      </a:lnTo>
                      <a:lnTo>
                        <a:pt x="445" y="91"/>
                      </a:lnTo>
                      <a:lnTo>
                        <a:pt x="491" y="97"/>
                      </a:lnTo>
                      <a:lnTo>
                        <a:pt x="491" y="142"/>
                      </a:lnTo>
                      <a:lnTo>
                        <a:pt x="531" y="205"/>
                      </a:lnTo>
                      <a:lnTo>
                        <a:pt x="513" y="222"/>
                      </a:lnTo>
                      <a:lnTo>
                        <a:pt x="576" y="284"/>
                      </a:lnTo>
                      <a:lnTo>
                        <a:pt x="588" y="324"/>
                      </a:lnTo>
                      <a:lnTo>
                        <a:pt x="565" y="341"/>
                      </a:lnTo>
                      <a:lnTo>
                        <a:pt x="576" y="369"/>
                      </a:lnTo>
                      <a:lnTo>
                        <a:pt x="570" y="386"/>
                      </a:lnTo>
                      <a:lnTo>
                        <a:pt x="491" y="414"/>
                      </a:lnTo>
                      <a:lnTo>
                        <a:pt x="508" y="443"/>
                      </a:lnTo>
                      <a:lnTo>
                        <a:pt x="491" y="488"/>
                      </a:lnTo>
                      <a:lnTo>
                        <a:pt x="508" y="522"/>
                      </a:lnTo>
                      <a:lnTo>
                        <a:pt x="565" y="517"/>
                      </a:lnTo>
                      <a:lnTo>
                        <a:pt x="599" y="562"/>
                      </a:lnTo>
                      <a:lnTo>
                        <a:pt x="559" y="562"/>
                      </a:lnTo>
                      <a:lnTo>
                        <a:pt x="314" y="738"/>
                      </a:lnTo>
                      <a:lnTo>
                        <a:pt x="274" y="692"/>
                      </a:lnTo>
                      <a:lnTo>
                        <a:pt x="291" y="664"/>
                      </a:lnTo>
                      <a:lnTo>
                        <a:pt x="251" y="658"/>
                      </a:lnTo>
                      <a:lnTo>
                        <a:pt x="222" y="579"/>
                      </a:lnTo>
                      <a:lnTo>
                        <a:pt x="188" y="607"/>
                      </a:lnTo>
                      <a:lnTo>
                        <a:pt x="142" y="590"/>
                      </a:lnTo>
                      <a:lnTo>
                        <a:pt x="125" y="613"/>
                      </a:lnTo>
                      <a:lnTo>
                        <a:pt x="74" y="602"/>
                      </a:lnTo>
                      <a:lnTo>
                        <a:pt x="63" y="551"/>
                      </a:lnTo>
                      <a:lnTo>
                        <a:pt x="6" y="534"/>
                      </a:lnTo>
                      <a:lnTo>
                        <a:pt x="0" y="471"/>
                      </a:lnTo>
                      <a:lnTo>
                        <a:pt x="34" y="432"/>
                      </a:lnTo>
                      <a:lnTo>
                        <a:pt x="125" y="414"/>
                      </a:lnTo>
                      <a:lnTo>
                        <a:pt x="142" y="380"/>
                      </a:lnTo>
                      <a:lnTo>
                        <a:pt x="108" y="375"/>
                      </a:lnTo>
                      <a:lnTo>
                        <a:pt x="108" y="307"/>
                      </a:lnTo>
                      <a:lnTo>
                        <a:pt x="125" y="284"/>
                      </a:lnTo>
                      <a:lnTo>
                        <a:pt x="34" y="222"/>
                      </a:lnTo>
                      <a:lnTo>
                        <a:pt x="68" y="142"/>
                      </a:lnTo>
                      <a:lnTo>
                        <a:pt x="23" y="86"/>
                      </a:lnTo>
                      <a:lnTo>
                        <a:pt x="40" y="63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3"/>
                </a:fillRef>
                <a:effectRef idx="1">
                  <a:schemeClr val="accent3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8" name="Freeform 62"/>
                <p:cNvSpPr>
                  <a:spLocks/>
                </p:cNvSpPr>
                <p:nvPr/>
              </p:nvSpPr>
              <p:spPr bwMode="auto">
                <a:xfrm>
                  <a:off x="2863" y="2290"/>
                  <a:ext cx="473" cy="606"/>
                </a:xfrm>
                <a:custGeom>
                  <a:avLst/>
                  <a:gdLst/>
                  <a:ahLst/>
                  <a:cxnLst>
                    <a:cxn ang="0">
                      <a:pos x="46" y="272"/>
                    </a:cxn>
                    <a:cxn ang="0">
                      <a:pos x="80" y="232"/>
                    </a:cxn>
                    <a:cxn ang="0">
                      <a:pos x="137" y="232"/>
                    </a:cxn>
                    <a:cxn ang="0">
                      <a:pos x="137" y="187"/>
                    </a:cxn>
                    <a:cxn ang="0">
                      <a:pos x="149" y="130"/>
                    </a:cxn>
                    <a:cxn ang="0">
                      <a:pos x="183" y="119"/>
                    </a:cxn>
                    <a:cxn ang="0">
                      <a:pos x="200" y="79"/>
                    </a:cxn>
                    <a:cxn ang="0">
                      <a:pos x="246" y="56"/>
                    </a:cxn>
                    <a:cxn ang="0">
                      <a:pos x="263" y="0"/>
                    </a:cxn>
                    <a:cxn ang="0">
                      <a:pos x="303" y="17"/>
                    </a:cxn>
                    <a:cxn ang="0">
                      <a:pos x="331" y="0"/>
                    </a:cxn>
                    <a:cxn ang="0">
                      <a:pos x="388" y="11"/>
                    </a:cxn>
                    <a:cxn ang="0">
                      <a:pos x="388" y="51"/>
                    </a:cxn>
                    <a:cxn ang="0">
                      <a:pos x="457" y="79"/>
                    </a:cxn>
                    <a:cxn ang="0">
                      <a:pos x="445" y="113"/>
                    </a:cxn>
                    <a:cxn ang="0">
                      <a:pos x="474" y="153"/>
                    </a:cxn>
                    <a:cxn ang="0">
                      <a:pos x="445" y="187"/>
                    </a:cxn>
                    <a:cxn ang="0">
                      <a:pos x="411" y="181"/>
                    </a:cxn>
                    <a:cxn ang="0">
                      <a:pos x="400" y="221"/>
                    </a:cxn>
                    <a:cxn ang="0">
                      <a:pos x="377" y="243"/>
                    </a:cxn>
                    <a:cxn ang="0">
                      <a:pos x="377" y="283"/>
                    </a:cxn>
                    <a:cxn ang="0">
                      <a:pos x="348" y="300"/>
                    </a:cxn>
                    <a:cxn ang="0">
                      <a:pos x="405" y="391"/>
                    </a:cxn>
                    <a:cxn ang="0">
                      <a:pos x="388" y="397"/>
                    </a:cxn>
                    <a:cxn ang="0">
                      <a:pos x="405" y="442"/>
                    </a:cxn>
                    <a:cxn ang="0">
                      <a:pos x="383" y="442"/>
                    </a:cxn>
                    <a:cxn ang="0">
                      <a:pos x="371" y="459"/>
                    </a:cxn>
                    <a:cxn ang="0">
                      <a:pos x="331" y="527"/>
                    </a:cxn>
                    <a:cxn ang="0">
                      <a:pos x="268" y="550"/>
                    </a:cxn>
                    <a:cxn ang="0">
                      <a:pos x="217" y="606"/>
                    </a:cxn>
                    <a:cxn ang="0">
                      <a:pos x="131" y="561"/>
                    </a:cxn>
                    <a:cxn ang="0">
                      <a:pos x="74" y="504"/>
                    </a:cxn>
                    <a:cxn ang="0">
                      <a:pos x="86" y="476"/>
                    </a:cxn>
                    <a:cxn ang="0">
                      <a:pos x="52" y="425"/>
                    </a:cxn>
                    <a:cxn ang="0">
                      <a:pos x="52" y="374"/>
                    </a:cxn>
                    <a:cxn ang="0">
                      <a:pos x="57" y="334"/>
                    </a:cxn>
                    <a:cxn ang="0">
                      <a:pos x="34" y="323"/>
                    </a:cxn>
                    <a:cxn ang="0">
                      <a:pos x="46" y="306"/>
                    </a:cxn>
                    <a:cxn ang="0">
                      <a:pos x="0" y="294"/>
                    </a:cxn>
                    <a:cxn ang="0">
                      <a:pos x="0" y="260"/>
                    </a:cxn>
                    <a:cxn ang="0">
                      <a:pos x="17" y="249"/>
                    </a:cxn>
                    <a:cxn ang="0">
                      <a:pos x="46" y="272"/>
                    </a:cxn>
                  </a:cxnLst>
                  <a:rect l="0" t="0" r="r" b="b"/>
                  <a:pathLst>
                    <a:path w="474" h="606">
                      <a:moveTo>
                        <a:pt x="46" y="272"/>
                      </a:moveTo>
                      <a:lnTo>
                        <a:pt x="80" y="232"/>
                      </a:lnTo>
                      <a:lnTo>
                        <a:pt x="137" y="232"/>
                      </a:lnTo>
                      <a:lnTo>
                        <a:pt x="137" y="187"/>
                      </a:lnTo>
                      <a:lnTo>
                        <a:pt x="149" y="130"/>
                      </a:lnTo>
                      <a:lnTo>
                        <a:pt x="183" y="119"/>
                      </a:lnTo>
                      <a:lnTo>
                        <a:pt x="200" y="79"/>
                      </a:lnTo>
                      <a:lnTo>
                        <a:pt x="246" y="56"/>
                      </a:lnTo>
                      <a:lnTo>
                        <a:pt x="263" y="0"/>
                      </a:lnTo>
                      <a:lnTo>
                        <a:pt x="303" y="17"/>
                      </a:lnTo>
                      <a:lnTo>
                        <a:pt x="331" y="0"/>
                      </a:lnTo>
                      <a:lnTo>
                        <a:pt x="388" y="11"/>
                      </a:lnTo>
                      <a:lnTo>
                        <a:pt x="388" y="51"/>
                      </a:lnTo>
                      <a:lnTo>
                        <a:pt x="457" y="79"/>
                      </a:lnTo>
                      <a:lnTo>
                        <a:pt x="445" y="113"/>
                      </a:lnTo>
                      <a:lnTo>
                        <a:pt x="474" y="153"/>
                      </a:lnTo>
                      <a:lnTo>
                        <a:pt x="445" y="187"/>
                      </a:lnTo>
                      <a:lnTo>
                        <a:pt x="411" y="181"/>
                      </a:lnTo>
                      <a:lnTo>
                        <a:pt x="400" y="221"/>
                      </a:lnTo>
                      <a:lnTo>
                        <a:pt x="377" y="243"/>
                      </a:lnTo>
                      <a:lnTo>
                        <a:pt x="377" y="283"/>
                      </a:lnTo>
                      <a:lnTo>
                        <a:pt x="348" y="300"/>
                      </a:lnTo>
                      <a:lnTo>
                        <a:pt x="405" y="391"/>
                      </a:lnTo>
                      <a:lnTo>
                        <a:pt x="388" y="397"/>
                      </a:lnTo>
                      <a:lnTo>
                        <a:pt x="405" y="442"/>
                      </a:lnTo>
                      <a:lnTo>
                        <a:pt x="383" y="442"/>
                      </a:lnTo>
                      <a:lnTo>
                        <a:pt x="371" y="459"/>
                      </a:lnTo>
                      <a:lnTo>
                        <a:pt x="331" y="527"/>
                      </a:lnTo>
                      <a:lnTo>
                        <a:pt x="268" y="550"/>
                      </a:lnTo>
                      <a:lnTo>
                        <a:pt x="217" y="606"/>
                      </a:lnTo>
                      <a:lnTo>
                        <a:pt x="131" y="561"/>
                      </a:lnTo>
                      <a:lnTo>
                        <a:pt x="74" y="504"/>
                      </a:lnTo>
                      <a:lnTo>
                        <a:pt x="86" y="476"/>
                      </a:lnTo>
                      <a:lnTo>
                        <a:pt x="52" y="425"/>
                      </a:lnTo>
                      <a:lnTo>
                        <a:pt x="52" y="374"/>
                      </a:lnTo>
                      <a:lnTo>
                        <a:pt x="57" y="334"/>
                      </a:lnTo>
                      <a:lnTo>
                        <a:pt x="34" y="323"/>
                      </a:lnTo>
                      <a:lnTo>
                        <a:pt x="46" y="306"/>
                      </a:lnTo>
                      <a:lnTo>
                        <a:pt x="0" y="294"/>
                      </a:lnTo>
                      <a:lnTo>
                        <a:pt x="0" y="260"/>
                      </a:lnTo>
                      <a:lnTo>
                        <a:pt x="17" y="249"/>
                      </a:lnTo>
                      <a:lnTo>
                        <a:pt x="46" y="272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9" name="Freeform 64"/>
                <p:cNvSpPr>
                  <a:spLocks/>
                </p:cNvSpPr>
                <p:nvPr/>
              </p:nvSpPr>
              <p:spPr bwMode="auto">
                <a:xfrm>
                  <a:off x="2006" y="3227"/>
                  <a:ext cx="679" cy="693"/>
                </a:xfrm>
                <a:custGeom>
                  <a:avLst/>
                  <a:gdLst/>
                  <a:ahLst/>
                  <a:cxnLst>
                    <a:cxn ang="0">
                      <a:pos x="0" y="142"/>
                    </a:cxn>
                    <a:cxn ang="0">
                      <a:pos x="40" y="74"/>
                    </a:cxn>
                    <a:cxn ang="0">
                      <a:pos x="126" y="68"/>
                    </a:cxn>
                    <a:cxn ang="0">
                      <a:pos x="154" y="6"/>
                    </a:cxn>
                    <a:cxn ang="0">
                      <a:pos x="194" y="0"/>
                    </a:cxn>
                    <a:cxn ang="0">
                      <a:pos x="229" y="29"/>
                    </a:cxn>
                    <a:cxn ang="0">
                      <a:pos x="268" y="6"/>
                    </a:cxn>
                    <a:cxn ang="0">
                      <a:pos x="303" y="12"/>
                    </a:cxn>
                    <a:cxn ang="0">
                      <a:pos x="343" y="85"/>
                    </a:cxn>
                    <a:cxn ang="0">
                      <a:pos x="457" y="131"/>
                    </a:cxn>
                    <a:cxn ang="0">
                      <a:pos x="468" y="176"/>
                    </a:cxn>
                    <a:cxn ang="0">
                      <a:pos x="514" y="154"/>
                    </a:cxn>
                    <a:cxn ang="0">
                      <a:pos x="520" y="227"/>
                    </a:cxn>
                    <a:cxn ang="0">
                      <a:pos x="599" y="295"/>
                    </a:cxn>
                    <a:cxn ang="0">
                      <a:pos x="611" y="267"/>
                    </a:cxn>
                    <a:cxn ang="0">
                      <a:pos x="634" y="278"/>
                    </a:cxn>
                    <a:cxn ang="0">
                      <a:pos x="634" y="307"/>
                    </a:cxn>
                    <a:cxn ang="0">
                      <a:pos x="674" y="369"/>
                    </a:cxn>
                    <a:cxn ang="0">
                      <a:pos x="679" y="420"/>
                    </a:cxn>
                    <a:cxn ang="0">
                      <a:pos x="639" y="420"/>
                    </a:cxn>
                    <a:cxn ang="0">
                      <a:pos x="605" y="369"/>
                    </a:cxn>
                    <a:cxn ang="0">
                      <a:pos x="571" y="358"/>
                    </a:cxn>
                    <a:cxn ang="0">
                      <a:pos x="520" y="375"/>
                    </a:cxn>
                    <a:cxn ang="0">
                      <a:pos x="474" y="420"/>
                    </a:cxn>
                    <a:cxn ang="0">
                      <a:pos x="474" y="471"/>
                    </a:cxn>
                    <a:cxn ang="0">
                      <a:pos x="451" y="494"/>
                    </a:cxn>
                    <a:cxn ang="0">
                      <a:pos x="423" y="488"/>
                    </a:cxn>
                    <a:cxn ang="0">
                      <a:pos x="411" y="522"/>
                    </a:cxn>
                    <a:cxn ang="0">
                      <a:pos x="383" y="545"/>
                    </a:cxn>
                    <a:cxn ang="0">
                      <a:pos x="417" y="653"/>
                    </a:cxn>
                    <a:cxn ang="0">
                      <a:pos x="377" y="692"/>
                    </a:cxn>
                    <a:cxn ang="0">
                      <a:pos x="365" y="653"/>
                    </a:cxn>
                    <a:cxn ang="0">
                      <a:pos x="326" y="647"/>
                    </a:cxn>
                    <a:cxn ang="0">
                      <a:pos x="303" y="613"/>
                    </a:cxn>
                    <a:cxn ang="0">
                      <a:pos x="240" y="647"/>
                    </a:cxn>
                    <a:cxn ang="0">
                      <a:pos x="160" y="613"/>
                    </a:cxn>
                    <a:cxn ang="0">
                      <a:pos x="143" y="562"/>
                    </a:cxn>
                    <a:cxn ang="0">
                      <a:pos x="160" y="528"/>
                    </a:cxn>
                    <a:cxn ang="0">
                      <a:pos x="103" y="494"/>
                    </a:cxn>
                    <a:cxn ang="0">
                      <a:pos x="114" y="397"/>
                    </a:cxn>
                    <a:cxn ang="0">
                      <a:pos x="86" y="369"/>
                    </a:cxn>
                    <a:cxn ang="0">
                      <a:pos x="92" y="335"/>
                    </a:cxn>
                    <a:cxn ang="0">
                      <a:pos x="52" y="278"/>
                    </a:cxn>
                    <a:cxn ang="0">
                      <a:pos x="80" y="244"/>
                    </a:cxn>
                    <a:cxn ang="0">
                      <a:pos x="0" y="165"/>
                    </a:cxn>
                    <a:cxn ang="0">
                      <a:pos x="0" y="142"/>
                    </a:cxn>
                  </a:cxnLst>
                  <a:rect l="0" t="0" r="r" b="b"/>
                  <a:pathLst>
                    <a:path w="679" h="692">
                      <a:moveTo>
                        <a:pt x="0" y="142"/>
                      </a:moveTo>
                      <a:lnTo>
                        <a:pt x="40" y="74"/>
                      </a:lnTo>
                      <a:lnTo>
                        <a:pt x="126" y="68"/>
                      </a:lnTo>
                      <a:lnTo>
                        <a:pt x="154" y="6"/>
                      </a:lnTo>
                      <a:lnTo>
                        <a:pt x="194" y="0"/>
                      </a:lnTo>
                      <a:lnTo>
                        <a:pt x="229" y="29"/>
                      </a:lnTo>
                      <a:lnTo>
                        <a:pt x="268" y="6"/>
                      </a:lnTo>
                      <a:lnTo>
                        <a:pt x="303" y="12"/>
                      </a:lnTo>
                      <a:lnTo>
                        <a:pt x="343" y="85"/>
                      </a:lnTo>
                      <a:lnTo>
                        <a:pt x="457" y="131"/>
                      </a:lnTo>
                      <a:lnTo>
                        <a:pt x="468" y="176"/>
                      </a:lnTo>
                      <a:lnTo>
                        <a:pt x="514" y="154"/>
                      </a:lnTo>
                      <a:lnTo>
                        <a:pt x="520" y="227"/>
                      </a:lnTo>
                      <a:lnTo>
                        <a:pt x="599" y="295"/>
                      </a:lnTo>
                      <a:lnTo>
                        <a:pt x="611" y="267"/>
                      </a:lnTo>
                      <a:lnTo>
                        <a:pt x="634" y="278"/>
                      </a:lnTo>
                      <a:lnTo>
                        <a:pt x="634" y="307"/>
                      </a:lnTo>
                      <a:lnTo>
                        <a:pt x="674" y="369"/>
                      </a:lnTo>
                      <a:lnTo>
                        <a:pt x="679" y="420"/>
                      </a:lnTo>
                      <a:lnTo>
                        <a:pt x="639" y="420"/>
                      </a:lnTo>
                      <a:lnTo>
                        <a:pt x="605" y="369"/>
                      </a:lnTo>
                      <a:lnTo>
                        <a:pt x="571" y="358"/>
                      </a:lnTo>
                      <a:lnTo>
                        <a:pt x="520" y="375"/>
                      </a:lnTo>
                      <a:lnTo>
                        <a:pt x="474" y="420"/>
                      </a:lnTo>
                      <a:lnTo>
                        <a:pt x="474" y="471"/>
                      </a:lnTo>
                      <a:lnTo>
                        <a:pt x="451" y="494"/>
                      </a:lnTo>
                      <a:lnTo>
                        <a:pt x="423" y="488"/>
                      </a:lnTo>
                      <a:lnTo>
                        <a:pt x="411" y="522"/>
                      </a:lnTo>
                      <a:lnTo>
                        <a:pt x="383" y="545"/>
                      </a:lnTo>
                      <a:lnTo>
                        <a:pt x="417" y="653"/>
                      </a:lnTo>
                      <a:lnTo>
                        <a:pt x="377" y="692"/>
                      </a:lnTo>
                      <a:lnTo>
                        <a:pt x="365" y="653"/>
                      </a:lnTo>
                      <a:lnTo>
                        <a:pt x="326" y="647"/>
                      </a:lnTo>
                      <a:lnTo>
                        <a:pt x="303" y="613"/>
                      </a:lnTo>
                      <a:lnTo>
                        <a:pt x="240" y="647"/>
                      </a:lnTo>
                      <a:lnTo>
                        <a:pt x="160" y="613"/>
                      </a:lnTo>
                      <a:lnTo>
                        <a:pt x="143" y="562"/>
                      </a:lnTo>
                      <a:lnTo>
                        <a:pt x="160" y="528"/>
                      </a:lnTo>
                      <a:lnTo>
                        <a:pt x="103" y="494"/>
                      </a:lnTo>
                      <a:lnTo>
                        <a:pt x="114" y="397"/>
                      </a:lnTo>
                      <a:lnTo>
                        <a:pt x="86" y="369"/>
                      </a:lnTo>
                      <a:lnTo>
                        <a:pt x="92" y="335"/>
                      </a:lnTo>
                      <a:lnTo>
                        <a:pt x="52" y="278"/>
                      </a:lnTo>
                      <a:lnTo>
                        <a:pt x="80" y="244"/>
                      </a:lnTo>
                      <a:lnTo>
                        <a:pt x="0" y="165"/>
                      </a:lnTo>
                      <a:lnTo>
                        <a:pt x="0" y="142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3"/>
                </a:fillRef>
                <a:effectRef idx="1">
                  <a:schemeClr val="accent3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10" name="Freeform 66"/>
                <p:cNvSpPr>
                  <a:spLocks/>
                </p:cNvSpPr>
                <p:nvPr/>
              </p:nvSpPr>
              <p:spPr bwMode="auto">
                <a:xfrm>
                  <a:off x="2197" y="1976"/>
                  <a:ext cx="844" cy="668"/>
                </a:xfrm>
                <a:custGeom>
                  <a:avLst/>
                  <a:gdLst/>
                  <a:ahLst/>
                  <a:cxnLst>
                    <a:cxn ang="0">
                      <a:pos x="268" y="0"/>
                    </a:cxn>
                    <a:cxn ang="0">
                      <a:pos x="308" y="0"/>
                    </a:cxn>
                    <a:cxn ang="0">
                      <a:pos x="325" y="22"/>
                    </a:cxn>
                    <a:cxn ang="0">
                      <a:pos x="359" y="22"/>
                    </a:cxn>
                    <a:cxn ang="0">
                      <a:pos x="382" y="45"/>
                    </a:cxn>
                    <a:cxn ang="0">
                      <a:pos x="434" y="39"/>
                    </a:cxn>
                    <a:cxn ang="0">
                      <a:pos x="479" y="79"/>
                    </a:cxn>
                    <a:cxn ang="0">
                      <a:pos x="513" y="68"/>
                    </a:cxn>
                    <a:cxn ang="0">
                      <a:pos x="525" y="124"/>
                    </a:cxn>
                    <a:cxn ang="0">
                      <a:pos x="582" y="136"/>
                    </a:cxn>
                    <a:cxn ang="0">
                      <a:pos x="633" y="124"/>
                    </a:cxn>
                    <a:cxn ang="0">
                      <a:pos x="656" y="170"/>
                    </a:cxn>
                    <a:cxn ang="0">
                      <a:pos x="725" y="158"/>
                    </a:cxn>
                    <a:cxn ang="0">
                      <a:pos x="765" y="198"/>
                    </a:cxn>
                    <a:cxn ang="0">
                      <a:pos x="799" y="181"/>
                    </a:cxn>
                    <a:cxn ang="0">
                      <a:pos x="844" y="175"/>
                    </a:cxn>
                    <a:cxn ang="0">
                      <a:pos x="787" y="249"/>
                    </a:cxn>
                    <a:cxn ang="0">
                      <a:pos x="776" y="226"/>
                    </a:cxn>
                    <a:cxn ang="0">
                      <a:pos x="730" y="238"/>
                    </a:cxn>
                    <a:cxn ang="0">
                      <a:pos x="696" y="266"/>
                    </a:cxn>
                    <a:cxn ang="0">
                      <a:pos x="668" y="232"/>
                    </a:cxn>
                    <a:cxn ang="0">
                      <a:pos x="605" y="295"/>
                    </a:cxn>
                    <a:cxn ang="0">
                      <a:pos x="588" y="385"/>
                    </a:cxn>
                    <a:cxn ang="0">
                      <a:pos x="542" y="391"/>
                    </a:cxn>
                    <a:cxn ang="0">
                      <a:pos x="508" y="448"/>
                    </a:cxn>
                    <a:cxn ang="0">
                      <a:pos x="496" y="538"/>
                    </a:cxn>
                    <a:cxn ang="0">
                      <a:pos x="399" y="561"/>
                    </a:cxn>
                    <a:cxn ang="0">
                      <a:pos x="399" y="641"/>
                    </a:cxn>
                    <a:cxn ang="0">
                      <a:pos x="348" y="658"/>
                    </a:cxn>
                    <a:cxn ang="0">
                      <a:pos x="348" y="623"/>
                    </a:cxn>
                    <a:cxn ang="0">
                      <a:pos x="308" y="623"/>
                    </a:cxn>
                    <a:cxn ang="0">
                      <a:pos x="297" y="658"/>
                    </a:cxn>
                    <a:cxn ang="0">
                      <a:pos x="279" y="652"/>
                    </a:cxn>
                    <a:cxn ang="0">
                      <a:pos x="251" y="606"/>
                    </a:cxn>
                    <a:cxn ang="0">
                      <a:pos x="217" y="669"/>
                    </a:cxn>
                    <a:cxn ang="0">
                      <a:pos x="205" y="646"/>
                    </a:cxn>
                    <a:cxn ang="0">
                      <a:pos x="165" y="646"/>
                    </a:cxn>
                    <a:cxn ang="0">
                      <a:pos x="137" y="663"/>
                    </a:cxn>
                    <a:cxn ang="0">
                      <a:pos x="80" y="663"/>
                    </a:cxn>
                    <a:cxn ang="0">
                      <a:pos x="57" y="646"/>
                    </a:cxn>
                    <a:cxn ang="0">
                      <a:pos x="0" y="601"/>
                    </a:cxn>
                    <a:cxn ang="0">
                      <a:pos x="17" y="550"/>
                    </a:cxn>
                    <a:cxn ang="0">
                      <a:pos x="0" y="538"/>
                    </a:cxn>
                    <a:cxn ang="0">
                      <a:pos x="0" y="499"/>
                    </a:cxn>
                    <a:cxn ang="0">
                      <a:pos x="57" y="487"/>
                    </a:cxn>
                    <a:cxn ang="0">
                      <a:pos x="51" y="397"/>
                    </a:cxn>
                    <a:cxn ang="0">
                      <a:pos x="0" y="363"/>
                    </a:cxn>
                    <a:cxn ang="0">
                      <a:pos x="17" y="295"/>
                    </a:cxn>
                    <a:cxn ang="0">
                      <a:pos x="91" y="243"/>
                    </a:cxn>
                    <a:cxn ang="0">
                      <a:pos x="120" y="255"/>
                    </a:cxn>
                    <a:cxn ang="0">
                      <a:pos x="125" y="170"/>
                    </a:cxn>
                    <a:cxn ang="0">
                      <a:pos x="268" y="0"/>
                    </a:cxn>
                  </a:cxnLst>
                  <a:rect l="0" t="0" r="r" b="b"/>
                  <a:pathLst>
                    <a:path w="844" h="669">
                      <a:moveTo>
                        <a:pt x="268" y="0"/>
                      </a:moveTo>
                      <a:lnTo>
                        <a:pt x="308" y="0"/>
                      </a:lnTo>
                      <a:lnTo>
                        <a:pt x="325" y="22"/>
                      </a:lnTo>
                      <a:lnTo>
                        <a:pt x="359" y="22"/>
                      </a:lnTo>
                      <a:lnTo>
                        <a:pt x="382" y="45"/>
                      </a:lnTo>
                      <a:lnTo>
                        <a:pt x="434" y="39"/>
                      </a:lnTo>
                      <a:lnTo>
                        <a:pt x="479" y="79"/>
                      </a:lnTo>
                      <a:lnTo>
                        <a:pt x="513" y="68"/>
                      </a:lnTo>
                      <a:lnTo>
                        <a:pt x="525" y="124"/>
                      </a:lnTo>
                      <a:lnTo>
                        <a:pt x="582" y="136"/>
                      </a:lnTo>
                      <a:lnTo>
                        <a:pt x="633" y="124"/>
                      </a:lnTo>
                      <a:lnTo>
                        <a:pt x="656" y="170"/>
                      </a:lnTo>
                      <a:lnTo>
                        <a:pt x="725" y="158"/>
                      </a:lnTo>
                      <a:lnTo>
                        <a:pt x="765" y="198"/>
                      </a:lnTo>
                      <a:lnTo>
                        <a:pt x="799" y="181"/>
                      </a:lnTo>
                      <a:lnTo>
                        <a:pt x="844" y="175"/>
                      </a:lnTo>
                      <a:lnTo>
                        <a:pt x="787" y="249"/>
                      </a:lnTo>
                      <a:lnTo>
                        <a:pt x="776" y="226"/>
                      </a:lnTo>
                      <a:lnTo>
                        <a:pt x="730" y="238"/>
                      </a:lnTo>
                      <a:lnTo>
                        <a:pt x="696" y="266"/>
                      </a:lnTo>
                      <a:lnTo>
                        <a:pt x="668" y="232"/>
                      </a:lnTo>
                      <a:lnTo>
                        <a:pt x="605" y="295"/>
                      </a:lnTo>
                      <a:lnTo>
                        <a:pt x="588" y="385"/>
                      </a:lnTo>
                      <a:lnTo>
                        <a:pt x="542" y="391"/>
                      </a:lnTo>
                      <a:lnTo>
                        <a:pt x="508" y="448"/>
                      </a:lnTo>
                      <a:lnTo>
                        <a:pt x="496" y="538"/>
                      </a:lnTo>
                      <a:lnTo>
                        <a:pt x="399" y="561"/>
                      </a:lnTo>
                      <a:lnTo>
                        <a:pt x="399" y="641"/>
                      </a:lnTo>
                      <a:lnTo>
                        <a:pt x="348" y="658"/>
                      </a:lnTo>
                      <a:lnTo>
                        <a:pt x="348" y="623"/>
                      </a:lnTo>
                      <a:lnTo>
                        <a:pt x="308" y="623"/>
                      </a:lnTo>
                      <a:lnTo>
                        <a:pt x="297" y="658"/>
                      </a:lnTo>
                      <a:lnTo>
                        <a:pt x="279" y="652"/>
                      </a:lnTo>
                      <a:lnTo>
                        <a:pt x="251" y="606"/>
                      </a:lnTo>
                      <a:lnTo>
                        <a:pt x="217" y="669"/>
                      </a:lnTo>
                      <a:lnTo>
                        <a:pt x="205" y="646"/>
                      </a:lnTo>
                      <a:lnTo>
                        <a:pt x="165" y="646"/>
                      </a:lnTo>
                      <a:lnTo>
                        <a:pt x="137" y="663"/>
                      </a:lnTo>
                      <a:lnTo>
                        <a:pt x="80" y="663"/>
                      </a:lnTo>
                      <a:lnTo>
                        <a:pt x="57" y="646"/>
                      </a:lnTo>
                      <a:lnTo>
                        <a:pt x="0" y="601"/>
                      </a:lnTo>
                      <a:lnTo>
                        <a:pt x="17" y="550"/>
                      </a:lnTo>
                      <a:lnTo>
                        <a:pt x="0" y="538"/>
                      </a:lnTo>
                      <a:lnTo>
                        <a:pt x="0" y="499"/>
                      </a:lnTo>
                      <a:lnTo>
                        <a:pt x="57" y="487"/>
                      </a:lnTo>
                      <a:lnTo>
                        <a:pt x="51" y="397"/>
                      </a:lnTo>
                      <a:lnTo>
                        <a:pt x="0" y="363"/>
                      </a:lnTo>
                      <a:lnTo>
                        <a:pt x="17" y="295"/>
                      </a:lnTo>
                      <a:lnTo>
                        <a:pt x="91" y="243"/>
                      </a:lnTo>
                      <a:lnTo>
                        <a:pt x="120" y="255"/>
                      </a:lnTo>
                      <a:lnTo>
                        <a:pt x="125" y="170"/>
                      </a:lnTo>
                      <a:lnTo>
                        <a:pt x="268" y="0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11" name="Freeform 68"/>
                <p:cNvSpPr>
                  <a:spLocks/>
                </p:cNvSpPr>
                <p:nvPr/>
              </p:nvSpPr>
              <p:spPr bwMode="auto">
                <a:xfrm>
                  <a:off x="2447" y="1603"/>
                  <a:ext cx="630" cy="571"/>
                </a:xfrm>
                <a:custGeom>
                  <a:avLst/>
                  <a:gdLst/>
                  <a:ahLst/>
                  <a:cxnLst>
                    <a:cxn ang="0">
                      <a:pos x="171" y="34"/>
                    </a:cxn>
                    <a:cxn ang="0">
                      <a:pos x="177" y="22"/>
                    </a:cxn>
                    <a:cxn ang="0">
                      <a:pos x="205" y="22"/>
                    </a:cxn>
                    <a:cxn ang="0">
                      <a:pos x="239" y="0"/>
                    </a:cxn>
                    <a:cxn ang="0">
                      <a:pos x="274" y="11"/>
                    </a:cxn>
                    <a:cxn ang="0">
                      <a:pos x="313" y="11"/>
                    </a:cxn>
                    <a:cxn ang="0">
                      <a:pos x="371" y="45"/>
                    </a:cxn>
                    <a:cxn ang="0">
                      <a:pos x="422" y="22"/>
                    </a:cxn>
                    <a:cxn ang="0">
                      <a:pos x="433" y="51"/>
                    </a:cxn>
                    <a:cxn ang="0">
                      <a:pos x="496" y="96"/>
                    </a:cxn>
                    <a:cxn ang="0">
                      <a:pos x="479" y="141"/>
                    </a:cxn>
                    <a:cxn ang="0">
                      <a:pos x="530" y="192"/>
                    </a:cxn>
                    <a:cxn ang="0">
                      <a:pos x="553" y="198"/>
                    </a:cxn>
                    <a:cxn ang="0">
                      <a:pos x="622" y="238"/>
                    </a:cxn>
                    <a:cxn ang="0">
                      <a:pos x="633" y="295"/>
                    </a:cxn>
                    <a:cxn ang="0">
                      <a:pos x="599" y="346"/>
                    </a:cxn>
                    <a:cxn ang="0">
                      <a:pos x="605" y="380"/>
                    </a:cxn>
                    <a:cxn ang="0">
                      <a:pos x="570" y="436"/>
                    </a:cxn>
                    <a:cxn ang="0">
                      <a:pos x="559" y="521"/>
                    </a:cxn>
                    <a:cxn ang="0">
                      <a:pos x="525" y="521"/>
                    </a:cxn>
                    <a:cxn ang="0">
                      <a:pos x="530" y="555"/>
                    </a:cxn>
                    <a:cxn ang="0">
                      <a:pos x="502" y="578"/>
                    </a:cxn>
                    <a:cxn ang="0">
                      <a:pos x="462" y="533"/>
                    </a:cxn>
                    <a:cxn ang="0">
                      <a:pos x="393" y="544"/>
                    </a:cxn>
                    <a:cxn ang="0">
                      <a:pos x="376" y="499"/>
                    </a:cxn>
                    <a:cxn ang="0">
                      <a:pos x="325" y="510"/>
                    </a:cxn>
                    <a:cxn ang="0">
                      <a:pos x="262" y="499"/>
                    </a:cxn>
                    <a:cxn ang="0">
                      <a:pos x="256" y="448"/>
                    </a:cxn>
                    <a:cxn ang="0">
                      <a:pos x="222" y="453"/>
                    </a:cxn>
                    <a:cxn ang="0">
                      <a:pos x="171" y="414"/>
                    </a:cxn>
                    <a:cxn ang="0">
                      <a:pos x="125" y="419"/>
                    </a:cxn>
                    <a:cxn ang="0">
                      <a:pos x="108" y="397"/>
                    </a:cxn>
                    <a:cxn ang="0">
                      <a:pos x="68" y="402"/>
                    </a:cxn>
                    <a:cxn ang="0">
                      <a:pos x="45" y="380"/>
                    </a:cxn>
                    <a:cxn ang="0">
                      <a:pos x="51" y="363"/>
                    </a:cxn>
                    <a:cxn ang="0">
                      <a:pos x="0" y="334"/>
                    </a:cxn>
                    <a:cxn ang="0">
                      <a:pos x="11" y="306"/>
                    </a:cxn>
                    <a:cxn ang="0">
                      <a:pos x="40" y="329"/>
                    </a:cxn>
                    <a:cxn ang="0">
                      <a:pos x="68" y="300"/>
                    </a:cxn>
                    <a:cxn ang="0">
                      <a:pos x="62" y="249"/>
                    </a:cxn>
                    <a:cxn ang="0">
                      <a:pos x="80" y="187"/>
                    </a:cxn>
                    <a:cxn ang="0">
                      <a:pos x="57" y="153"/>
                    </a:cxn>
                    <a:cxn ang="0">
                      <a:pos x="119" y="136"/>
                    </a:cxn>
                    <a:cxn ang="0">
                      <a:pos x="148" y="170"/>
                    </a:cxn>
                    <a:cxn ang="0">
                      <a:pos x="188" y="158"/>
                    </a:cxn>
                    <a:cxn ang="0">
                      <a:pos x="182" y="51"/>
                    </a:cxn>
                    <a:cxn ang="0">
                      <a:pos x="171" y="34"/>
                    </a:cxn>
                  </a:cxnLst>
                  <a:rect l="0" t="0" r="r" b="b"/>
                  <a:pathLst>
                    <a:path w="633" h="578">
                      <a:moveTo>
                        <a:pt x="171" y="34"/>
                      </a:moveTo>
                      <a:lnTo>
                        <a:pt x="177" y="22"/>
                      </a:lnTo>
                      <a:lnTo>
                        <a:pt x="205" y="22"/>
                      </a:lnTo>
                      <a:lnTo>
                        <a:pt x="239" y="0"/>
                      </a:lnTo>
                      <a:lnTo>
                        <a:pt x="274" y="11"/>
                      </a:lnTo>
                      <a:lnTo>
                        <a:pt x="313" y="11"/>
                      </a:lnTo>
                      <a:lnTo>
                        <a:pt x="371" y="45"/>
                      </a:lnTo>
                      <a:lnTo>
                        <a:pt x="422" y="22"/>
                      </a:lnTo>
                      <a:lnTo>
                        <a:pt x="433" y="51"/>
                      </a:lnTo>
                      <a:lnTo>
                        <a:pt x="496" y="96"/>
                      </a:lnTo>
                      <a:lnTo>
                        <a:pt x="479" y="141"/>
                      </a:lnTo>
                      <a:lnTo>
                        <a:pt x="530" y="192"/>
                      </a:lnTo>
                      <a:lnTo>
                        <a:pt x="553" y="198"/>
                      </a:lnTo>
                      <a:lnTo>
                        <a:pt x="622" y="238"/>
                      </a:lnTo>
                      <a:lnTo>
                        <a:pt x="633" y="295"/>
                      </a:lnTo>
                      <a:lnTo>
                        <a:pt x="599" y="346"/>
                      </a:lnTo>
                      <a:lnTo>
                        <a:pt x="605" y="380"/>
                      </a:lnTo>
                      <a:lnTo>
                        <a:pt x="570" y="436"/>
                      </a:lnTo>
                      <a:lnTo>
                        <a:pt x="559" y="521"/>
                      </a:lnTo>
                      <a:lnTo>
                        <a:pt x="525" y="521"/>
                      </a:lnTo>
                      <a:lnTo>
                        <a:pt x="530" y="555"/>
                      </a:lnTo>
                      <a:lnTo>
                        <a:pt x="502" y="578"/>
                      </a:lnTo>
                      <a:lnTo>
                        <a:pt x="462" y="533"/>
                      </a:lnTo>
                      <a:lnTo>
                        <a:pt x="393" y="544"/>
                      </a:lnTo>
                      <a:lnTo>
                        <a:pt x="376" y="499"/>
                      </a:lnTo>
                      <a:lnTo>
                        <a:pt x="325" y="510"/>
                      </a:lnTo>
                      <a:lnTo>
                        <a:pt x="262" y="499"/>
                      </a:lnTo>
                      <a:lnTo>
                        <a:pt x="256" y="448"/>
                      </a:lnTo>
                      <a:lnTo>
                        <a:pt x="222" y="453"/>
                      </a:lnTo>
                      <a:lnTo>
                        <a:pt x="171" y="414"/>
                      </a:lnTo>
                      <a:lnTo>
                        <a:pt x="125" y="419"/>
                      </a:lnTo>
                      <a:lnTo>
                        <a:pt x="108" y="397"/>
                      </a:lnTo>
                      <a:lnTo>
                        <a:pt x="68" y="402"/>
                      </a:lnTo>
                      <a:lnTo>
                        <a:pt x="45" y="380"/>
                      </a:lnTo>
                      <a:lnTo>
                        <a:pt x="51" y="363"/>
                      </a:lnTo>
                      <a:lnTo>
                        <a:pt x="0" y="334"/>
                      </a:lnTo>
                      <a:lnTo>
                        <a:pt x="11" y="306"/>
                      </a:lnTo>
                      <a:lnTo>
                        <a:pt x="40" y="329"/>
                      </a:lnTo>
                      <a:lnTo>
                        <a:pt x="68" y="300"/>
                      </a:lnTo>
                      <a:lnTo>
                        <a:pt x="62" y="249"/>
                      </a:lnTo>
                      <a:lnTo>
                        <a:pt x="80" y="187"/>
                      </a:lnTo>
                      <a:lnTo>
                        <a:pt x="57" y="153"/>
                      </a:lnTo>
                      <a:lnTo>
                        <a:pt x="119" y="136"/>
                      </a:lnTo>
                      <a:lnTo>
                        <a:pt x="148" y="170"/>
                      </a:lnTo>
                      <a:lnTo>
                        <a:pt x="188" y="158"/>
                      </a:lnTo>
                      <a:lnTo>
                        <a:pt x="182" y="51"/>
                      </a:lnTo>
                      <a:lnTo>
                        <a:pt x="171" y="34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3"/>
                </a:fillRef>
                <a:effectRef idx="1">
                  <a:schemeClr val="accent3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12" name="Freeform 71"/>
                <p:cNvSpPr>
                  <a:spLocks/>
                </p:cNvSpPr>
                <p:nvPr/>
              </p:nvSpPr>
              <p:spPr bwMode="auto">
                <a:xfrm>
                  <a:off x="1973" y="1619"/>
                  <a:ext cx="599" cy="613"/>
                </a:xfrm>
                <a:custGeom>
                  <a:avLst/>
                  <a:gdLst>
                    <a:gd name="T0" fmla="*/ 52 w 599"/>
                    <a:gd name="T1" fmla="*/ 91 h 613"/>
                    <a:gd name="T2" fmla="*/ 80 w 599"/>
                    <a:gd name="T3" fmla="*/ 85 h 613"/>
                    <a:gd name="T4" fmla="*/ 109 w 599"/>
                    <a:gd name="T5" fmla="*/ 46 h 613"/>
                    <a:gd name="T6" fmla="*/ 149 w 599"/>
                    <a:gd name="T7" fmla="*/ 40 h 613"/>
                    <a:gd name="T8" fmla="*/ 172 w 599"/>
                    <a:gd name="T9" fmla="*/ 74 h 613"/>
                    <a:gd name="T10" fmla="*/ 240 w 599"/>
                    <a:gd name="T11" fmla="*/ 46 h 613"/>
                    <a:gd name="T12" fmla="*/ 269 w 599"/>
                    <a:gd name="T13" fmla="*/ 6 h 613"/>
                    <a:gd name="T14" fmla="*/ 286 w 599"/>
                    <a:gd name="T15" fmla="*/ 23 h 613"/>
                    <a:gd name="T16" fmla="*/ 343 w 599"/>
                    <a:gd name="T17" fmla="*/ 0 h 613"/>
                    <a:gd name="T18" fmla="*/ 354 w 599"/>
                    <a:gd name="T19" fmla="*/ 17 h 613"/>
                    <a:gd name="T20" fmla="*/ 371 w 599"/>
                    <a:gd name="T21" fmla="*/ 0 h 613"/>
                    <a:gd name="T22" fmla="*/ 451 w 599"/>
                    <a:gd name="T23" fmla="*/ 46 h 613"/>
                    <a:gd name="T24" fmla="*/ 531 w 599"/>
                    <a:gd name="T25" fmla="*/ 68 h 613"/>
                    <a:gd name="T26" fmla="*/ 548 w 599"/>
                    <a:gd name="T27" fmla="*/ 102 h 613"/>
                    <a:gd name="T28" fmla="*/ 588 w 599"/>
                    <a:gd name="T29" fmla="*/ 97 h 613"/>
                    <a:gd name="T30" fmla="*/ 599 w 599"/>
                    <a:gd name="T31" fmla="*/ 114 h 613"/>
                    <a:gd name="T32" fmla="*/ 537 w 599"/>
                    <a:gd name="T33" fmla="*/ 131 h 613"/>
                    <a:gd name="T34" fmla="*/ 560 w 599"/>
                    <a:gd name="T35" fmla="*/ 170 h 613"/>
                    <a:gd name="T36" fmla="*/ 537 w 599"/>
                    <a:gd name="T37" fmla="*/ 227 h 613"/>
                    <a:gd name="T38" fmla="*/ 548 w 599"/>
                    <a:gd name="T39" fmla="*/ 284 h 613"/>
                    <a:gd name="T40" fmla="*/ 514 w 599"/>
                    <a:gd name="T41" fmla="*/ 307 h 613"/>
                    <a:gd name="T42" fmla="*/ 485 w 599"/>
                    <a:gd name="T43" fmla="*/ 290 h 613"/>
                    <a:gd name="T44" fmla="*/ 474 w 599"/>
                    <a:gd name="T45" fmla="*/ 312 h 613"/>
                    <a:gd name="T46" fmla="*/ 531 w 599"/>
                    <a:gd name="T47" fmla="*/ 341 h 613"/>
                    <a:gd name="T48" fmla="*/ 525 w 599"/>
                    <a:gd name="T49" fmla="*/ 358 h 613"/>
                    <a:gd name="T50" fmla="*/ 485 w 599"/>
                    <a:gd name="T51" fmla="*/ 352 h 613"/>
                    <a:gd name="T52" fmla="*/ 348 w 599"/>
                    <a:gd name="T53" fmla="*/ 522 h 613"/>
                    <a:gd name="T54" fmla="*/ 337 w 599"/>
                    <a:gd name="T55" fmla="*/ 613 h 613"/>
                    <a:gd name="T56" fmla="*/ 314 w 599"/>
                    <a:gd name="T57" fmla="*/ 601 h 613"/>
                    <a:gd name="T58" fmla="*/ 263 w 599"/>
                    <a:gd name="T59" fmla="*/ 579 h 613"/>
                    <a:gd name="T60" fmla="*/ 240 w 599"/>
                    <a:gd name="T61" fmla="*/ 601 h 613"/>
                    <a:gd name="T62" fmla="*/ 234 w 599"/>
                    <a:gd name="T63" fmla="*/ 545 h 613"/>
                    <a:gd name="T64" fmla="*/ 189 w 599"/>
                    <a:gd name="T65" fmla="*/ 511 h 613"/>
                    <a:gd name="T66" fmla="*/ 120 w 599"/>
                    <a:gd name="T67" fmla="*/ 522 h 613"/>
                    <a:gd name="T68" fmla="*/ 80 w 599"/>
                    <a:gd name="T69" fmla="*/ 511 h 613"/>
                    <a:gd name="T70" fmla="*/ 40 w 599"/>
                    <a:gd name="T71" fmla="*/ 522 h 613"/>
                    <a:gd name="T72" fmla="*/ 17 w 599"/>
                    <a:gd name="T73" fmla="*/ 511 h 613"/>
                    <a:gd name="T74" fmla="*/ 17 w 599"/>
                    <a:gd name="T75" fmla="*/ 471 h 613"/>
                    <a:gd name="T76" fmla="*/ 6 w 599"/>
                    <a:gd name="T77" fmla="*/ 448 h 613"/>
                    <a:gd name="T78" fmla="*/ 17 w 599"/>
                    <a:gd name="T79" fmla="*/ 426 h 613"/>
                    <a:gd name="T80" fmla="*/ 12 w 599"/>
                    <a:gd name="T81" fmla="*/ 397 h 613"/>
                    <a:gd name="T82" fmla="*/ 35 w 599"/>
                    <a:gd name="T83" fmla="*/ 375 h 613"/>
                    <a:gd name="T84" fmla="*/ 40 w 599"/>
                    <a:gd name="T85" fmla="*/ 346 h 613"/>
                    <a:gd name="T86" fmla="*/ 75 w 599"/>
                    <a:gd name="T87" fmla="*/ 335 h 613"/>
                    <a:gd name="T88" fmla="*/ 80 w 599"/>
                    <a:gd name="T89" fmla="*/ 295 h 613"/>
                    <a:gd name="T90" fmla="*/ 92 w 599"/>
                    <a:gd name="T91" fmla="*/ 278 h 613"/>
                    <a:gd name="T92" fmla="*/ 86 w 599"/>
                    <a:gd name="T93" fmla="*/ 256 h 613"/>
                    <a:gd name="T94" fmla="*/ 97 w 599"/>
                    <a:gd name="T95" fmla="*/ 227 h 613"/>
                    <a:gd name="T96" fmla="*/ 52 w 599"/>
                    <a:gd name="T97" fmla="*/ 187 h 613"/>
                    <a:gd name="T98" fmla="*/ 29 w 599"/>
                    <a:gd name="T99" fmla="*/ 187 h 613"/>
                    <a:gd name="T100" fmla="*/ 0 w 599"/>
                    <a:gd name="T101" fmla="*/ 159 h 613"/>
                    <a:gd name="T102" fmla="*/ 52 w 599"/>
                    <a:gd name="T103" fmla="*/ 91 h 61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99"/>
                    <a:gd name="T157" fmla="*/ 0 h 613"/>
                    <a:gd name="T158" fmla="*/ 599 w 599"/>
                    <a:gd name="T159" fmla="*/ 613 h 61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99" h="613">
                      <a:moveTo>
                        <a:pt x="52" y="91"/>
                      </a:moveTo>
                      <a:lnTo>
                        <a:pt x="80" y="85"/>
                      </a:lnTo>
                      <a:lnTo>
                        <a:pt x="109" y="46"/>
                      </a:lnTo>
                      <a:lnTo>
                        <a:pt x="149" y="40"/>
                      </a:lnTo>
                      <a:lnTo>
                        <a:pt x="172" y="74"/>
                      </a:lnTo>
                      <a:lnTo>
                        <a:pt x="240" y="46"/>
                      </a:lnTo>
                      <a:lnTo>
                        <a:pt x="269" y="6"/>
                      </a:lnTo>
                      <a:lnTo>
                        <a:pt x="286" y="23"/>
                      </a:lnTo>
                      <a:lnTo>
                        <a:pt x="343" y="0"/>
                      </a:lnTo>
                      <a:lnTo>
                        <a:pt x="354" y="17"/>
                      </a:lnTo>
                      <a:lnTo>
                        <a:pt x="371" y="0"/>
                      </a:lnTo>
                      <a:lnTo>
                        <a:pt x="451" y="46"/>
                      </a:lnTo>
                      <a:lnTo>
                        <a:pt x="531" y="68"/>
                      </a:lnTo>
                      <a:lnTo>
                        <a:pt x="548" y="102"/>
                      </a:lnTo>
                      <a:lnTo>
                        <a:pt x="588" y="97"/>
                      </a:lnTo>
                      <a:lnTo>
                        <a:pt x="599" y="114"/>
                      </a:lnTo>
                      <a:lnTo>
                        <a:pt x="537" y="131"/>
                      </a:lnTo>
                      <a:lnTo>
                        <a:pt x="560" y="170"/>
                      </a:lnTo>
                      <a:lnTo>
                        <a:pt x="537" y="227"/>
                      </a:lnTo>
                      <a:lnTo>
                        <a:pt x="548" y="284"/>
                      </a:lnTo>
                      <a:lnTo>
                        <a:pt x="514" y="307"/>
                      </a:lnTo>
                      <a:lnTo>
                        <a:pt x="485" y="290"/>
                      </a:lnTo>
                      <a:lnTo>
                        <a:pt x="474" y="312"/>
                      </a:lnTo>
                      <a:lnTo>
                        <a:pt x="531" y="341"/>
                      </a:lnTo>
                      <a:lnTo>
                        <a:pt x="525" y="358"/>
                      </a:lnTo>
                      <a:lnTo>
                        <a:pt x="485" y="352"/>
                      </a:lnTo>
                      <a:lnTo>
                        <a:pt x="348" y="522"/>
                      </a:lnTo>
                      <a:lnTo>
                        <a:pt x="337" y="613"/>
                      </a:lnTo>
                      <a:lnTo>
                        <a:pt x="314" y="601"/>
                      </a:lnTo>
                      <a:lnTo>
                        <a:pt x="263" y="579"/>
                      </a:lnTo>
                      <a:lnTo>
                        <a:pt x="240" y="601"/>
                      </a:lnTo>
                      <a:lnTo>
                        <a:pt x="234" y="545"/>
                      </a:lnTo>
                      <a:lnTo>
                        <a:pt x="189" y="511"/>
                      </a:lnTo>
                      <a:lnTo>
                        <a:pt x="120" y="522"/>
                      </a:lnTo>
                      <a:lnTo>
                        <a:pt x="80" y="511"/>
                      </a:lnTo>
                      <a:lnTo>
                        <a:pt x="40" y="522"/>
                      </a:lnTo>
                      <a:lnTo>
                        <a:pt x="17" y="511"/>
                      </a:lnTo>
                      <a:lnTo>
                        <a:pt x="17" y="471"/>
                      </a:lnTo>
                      <a:lnTo>
                        <a:pt x="6" y="448"/>
                      </a:lnTo>
                      <a:lnTo>
                        <a:pt x="17" y="426"/>
                      </a:lnTo>
                      <a:lnTo>
                        <a:pt x="12" y="397"/>
                      </a:lnTo>
                      <a:lnTo>
                        <a:pt x="35" y="375"/>
                      </a:lnTo>
                      <a:lnTo>
                        <a:pt x="40" y="346"/>
                      </a:lnTo>
                      <a:lnTo>
                        <a:pt x="75" y="335"/>
                      </a:lnTo>
                      <a:lnTo>
                        <a:pt x="80" y="295"/>
                      </a:lnTo>
                      <a:lnTo>
                        <a:pt x="92" y="278"/>
                      </a:lnTo>
                      <a:lnTo>
                        <a:pt x="86" y="256"/>
                      </a:lnTo>
                      <a:lnTo>
                        <a:pt x="97" y="227"/>
                      </a:lnTo>
                      <a:lnTo>
                        <a:pt x="52" y="187"/>
                      </a:lnTo>
                      <a:lnTo>
                        <a:pt x="29" y="187"/>
                      </a:lnTo>
                      <a:lnTo>
                        <a:pt x="0" y="159"/>
                      </a:lnTo>
                      <a:lnTo>
                        <a:pt x="52" y="91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" name="Freeform 72"/>
                <p:cNvSpPr>
                  <a:spLocks/>
                </p:cNvSpPr>
                <p:nvPr/>
              </p:nvSpPr>
              <p:spPr bwMode="auto">
                <a:xfrm>
                  <a:off x="1790" y="2123"/>
                  <a:ext cx="496" cy="551"/>
                </a:xfrm>
                <a:custGeom>
                  <a:avLst/>
                  <a:gdLst/>
                  <a:ahLst/>
                  <a:cxnLst>
                    <a:cxn ang="0">
                      <a:pos x="52" y="74"/>
                    </a:cxn>
                    <a:cxn ang="0">
                      <a:pos x="126" y="28"/>
                    </a:cxn>
                    <a:cxn ang="0">
                      <a:pos x="155" y="45"/>
                    </a:cxn>
                    <a:cxn ang="0">
                      <a:pos x="155" y="11"/>
                    </a:cxn>
                    <a:cxn ang="0">
                      <a:pos x="177" y="0"/>
                    </a:cxn>
                    <a:cxn ang="0">
                      <a:pos x="194" y="6"/>
                    </a:cxn>
                    <a:cxn ang="0">
                      <a:pos x="223" y="17"/>
                    </a:cxn>
                    <a:cxn ang="0">
                      <a:pos x="257" y="6"/>
                    </a:cxn>
                    <a:cxn ang="0">
                      <a:pos x="297" y="17"/>
                    </a:cxn>
                    <a:cxn ang="0">
                      <a:pos x="371" y="6"/>
                    </a:cxn>
                    <a:cxn ang="0">
                      <a:pos x="411" y="40"/>
                    </a:cxn>
                    <a:cxn ang="0">
                      <a:pos x="423" y="96"/>
                    </a:cxn>
                    <a:cxn ang="0">
                      <a:pos x="440" y="79"/>
                    </a:cxn>
                    <a:cxn ang="0">
                      <a:pos x="497" y="96"/>
                    </a:cxn>
                    <a:cxn ang="0">
                      <a:pos x="417" y="153"/>
                    </a:cxn>
                    <a:cxn ang="0">
                      <a:pos x="406" y="216"/>
                    </a:cxn>
                    <a:cxn ang="0">
                      <a:pos x="451" y="250"/>
                    </a:cxn>
                    <a:cxn ang="0">
                      <a:pos x="457" y="346"/>
                    </a:cxn>
                    <a:cxn ang="0">
                      <a:pos x="406" y="352"/>
                    </a:cxn>
                    <a:cxn ang="0">
                      <a:pos x="400" y="391"/>
                    </a:cxn>
                    <a:cxn ang="0">
                      <a:pos x="417" y="403"/>
                    </a:cxn>
                    <a:cxn ang="0">
                      <a:pos x="406" y="454"/>
                    </a:cxn>
                    <a:cxn ang="0">
                      <a:pos x="457" y="499"/>
                    </a:cxn>
                    <a:cxn ang="0">
                      <a:pos x="446" y="533"/>
                    </a:cxn>
                    <a:cxn ang="0">
                      <a:pos x="411" y="550"/>
                    </a:cxn>
                    <a:cxn ang="0">
                      <a:pos x="371" y="511"/>
                    </a:cxn>
                    <a:cxn ang="0">
                      <a:pos x="411" y="516"/>
                    </a:cxn>
                    <a:cxn ang="0">
                      <a:pos x="411" y="494"/>
                    </a:cxn>
                    <a:cxn ang="0">
                      <a:pos x="360" y="476"/>
                    </a:cxn>
                    <a:cxn ang="0">
                      <a:pos x="343" y="499"/>
                    </a:cxn>
                    <a:cxn ang="0">
                      <a:pos x="309" y="488"/>
                    </a:cxn>
                    <a:cxn ang="0">
                      <a:pos x="246" y="499"/>
                    </a:cxn>
                    <a:cxn ang="0">
                      <a:pos x="229" y="516"/>
                    </a:cxn>
                    <a:cxn ang="0">
                      <a:pos x="200" y="528"/>
                    </a:cxn>
                    <a:cxn ang="0">
                      <a:pos x="212" y="488"/>
                    </a:cxn>
                    <a:cxn ang="0">
                      <a:pos x="200" y="459"/>
                    </a:cxn>
                    <a:cxn ang="0">
                      <a:pos x="217" y="442"/>
                    </a:cxn>
                    <a:cxn ang="0">
                      <a:pos x="212" y="357"/>
                    </a:cxn>
                    <a:cxn ang="0">
                      <a:pos x="172" y="352"/>
                    </a:cxn>
                    <a:cxn ang="0">
                      <a:pos x="149" y="312"/>
                    </a:cxn>
                    <a:cxn ang="0">
                      <a:pos x="115" y="323"/>
                    </a:cxn>
                    <a:cxn ang="0">
                      <a:pos x="29" y="306"/>
                    </a:cxn>
                    <a:cxn ang="0">
                      <a:pos x="18" y="278"/>
                    </a:cxn>
                    <a:cxn ang="0">
                      <a:pos x="23" y="255"/>
                    </a:cxn>
                    <a:cxn ang="0">
                      <a:pos x="6" y="233"/>
                    </a:cxn>
                    <a:cxn ang="0">
                      <a:pos x="0" y="193"/>
                    </a:cxn>
                    <a:cxn ang="0">
                      <a:pos x="23" y="176"/>
                    </a:cxn>
                    <a:cxn ang="0">
                      <a:pos x="40" y="176"/>
                    </a:cxn>
                    <a:cxn ang="0">
                      <a:pos x="63" y="136"/>
                    </a:cxn>
                    <a:cxn ang="0">
                      <a:pos x="40" y="108"/>
                    </a:cxn>
                    <a:cxn ang="0">
                      <a:pos x="52" y="74"/>
                    </a:cxn>
                  </a:cxnLst>
                  <a:rect l="0" t="0" r="r" b="b"/>
                  <a:pathLst>
                    <a:path w="497" h="550">
                      <a:moveTo>
                        <a:pt x="52" y="74"/>
                      </a:moveTo>
                      <a:lnTo>
                        <a:pt x="126" y="28"/>
                      </a:lnTo>
                      <a:lnTo>
                        <a:pt x="155" y="45"/>
                      </a:lnTo>
                      <a:lnTo>
                        <a:pt x="155" y="11"/>
                      </a:lnTo>
                      <a:lnTo>
                        <a:pt x="177" y="0"/>
                      </a:lnTo>
                      <a:lnTo>
                        <a:pt x="194" y="6"/>
                      </a:lnTo>
                      <a:lnTo>
                        <a:pt x="223" y="17"/>
                      </a:lnTo>
                      <a:lnTo>
                        <a:pt x="257" y="6"/>
                      </a:lnTo>
                      <a:lnTo>
                        <a:pt x="297" y="17"/>
                      </a:lnTo>
                      <a:lnTo>
                        <a:pt x="371" y="6"/>
                      </a:lnTo>
                      <a:lnTo>
                        <a:pt x="411" y="40"/>
                      </a:lnTo>
                      <a:lnTo>
                        <a:pt x="423" y="96"/>
                      </a:lnTo>
                      <a:lnTo>
                        <a:pt x="440" y="79"/>
                      </a:lnTo>
                      <a:lnTo>
                        <a:pt x="497" y="96"/>
                      </a:lnTo>
                      <a:lnTo>
                        <a:pt x="417" y="153"/>
                      </a:lnTo>
                      <a:lnTo>
                        <a:pt x="406" y="216"/>
                      </a:lnTo>
                      <a:lnTo>
                        <a:pt x="451" y="250"/>
                      </a:lnTo>
                      <a:lnTo>
                        <a:pt x="457" y="346"/>
                      </a:lnTo>
                      <a:lnTo>
                        <a:pt x="406" y="352"/>
                      </a:lnTo>
                      <a:lnTo>
                        <a:pt x="400" y="391"/>
                      </a:lnTo>
                      <a:lnTo>
                        <a:pt x="417" y="403"/>
                      </a:lnTo>
                      <a:lnTo>
                        <a:pt x="406" y="454"/>
                      </a:lnTo>
                      <a:lnTo>
                        <a:pt x="457" y="499"/>
                      </a:lnTo>
                      <a:lnTo>
                        <a:pt x="446" y="533"/>
                      </a:lnTo>
                      <a:lnTo>
                        <a:pt x="411" y="550"/>
                      </a:lnTo>
                      <a:lnTo>
                        <a:pt x="371" y="511"/>
                      </a:lnTo>
                      <a:lnTo>
                        <a:pt x="411" y="516"/>
                      </a:lnTo>
                      <a:lnTo>
                        <a:pt x="411" y="494"/>
                      </a:lnTo>
                      <a:lnTo>
                        <a:pt x="360" y="476"/>
                      </a:lnTo>
                      <a:lnTo>
                        <a:pt x="343" y="499"/>
                      </a:lnTo>
                      <a:lnTo>
                        <a:pt x="309" y="488"/>
                      </a:lnTo>
                      <a:lnTo>
                        <a:pt x="246" y="499"/>
                      </a:lnTo>
                      <a:lnTo>
                        <a:pt x="229" y="516"/>
                      </a:lnTo>
                      <a:lnTo>
                        <a:pt x="200" y="528"/>
                      </a:lnTo>
                      <a:lnTo>
                        <a:pt x="212" y="488"/>
                      </a:lnTo>
                      <a:lnTo>
                        <a:pt x="200" y="459"/>
                      </a:lnTo>
                      <a:lnTo>
                        <a:pt x="217" y="442"/>
                      </a:lnTo>
                      <a:lnTo>
                        <a:pt x="212" y="357"/>
                      </a:lnTo>
                      <a:lnTo>
                        <a:pt x="172" y="352"/>
                      </a:lnTo>
                      <a:lnTo>
                        <a:pt x="149" y="312"/>
                      </a:lnTo>
                      <a:lnTo>
                        <a:pt x="115" y="323"/>
                      </a:lnTo>
                      <a:lnTo>
                        <a:pt x="29" y="306"/>
                      </a:lnTo>
                      <a:lnTo>
                        <a:pt x="18" y="278"/>
                      </a:lnTo>
                      <a:lnTo>
                        <a:pt x="23" y="255"/>
                      </a:lnTo>
                      <a:lnTo>
                        <a:pt x="6" y="233"/>
                      </a:lnTo>
                      <a:lnTo>
                        <a:pt x="0" y="193"/>
                      </a:lnTo>
                      <a:lnTo>
                        <a:pt x="23" y="176"/>
                      </a:lnTo>
                      <a:lnTo>
                        <a:pt x="40" y="176"/>
                      </a:lnTo>
                      <a:lnTo>
                        <a:pt x="63" y="136"/>
                      </a:lnTo>
                      <a:lnTo>
                        <a:pt x="40" y="108"/>
                      </a:lnTo>
                      <a:lnTo>
                        <a:pt x="52" y="74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14" name="Freeform 75"/>
                <p:cNvSpPr>
                  <a:spLocks/>
                </p:cNvSpPr>
                <p:nvPr/>
              </p:nvSpPr>
              <p:spPr bwMode="auto">
                <a:xfrm>
                  <a:off x="2024" y="2590"/>
                  <a:ext cx="553" cy="467"/>
                </a:xfrm>
                <a:custGeom>
                  <a:avLst/>
                  <a:gdLst>
                    <a:gd name="T0" fmla="*/ 0 w 553"/>
                    <a:gd name="T1" fmla="*/ 51 h 465"/>
                    <a:gd name="T2" fmla="*/ 17 w 553"/>
                    <a:gd name="T3" fmla="*/ 34 h 465"/>
                    <a:gd name="T4" fmla="*/ 80 w 553"/>
                    <a:gd name="T5" fmla="*/ 23 h 465"/>
                    <a:gd name="T6" fmla="*/ 108 w 553"/>
                    <a:gd name="T7" fmla="*/ 34 h 465"/>
                    <a:gd name="T8" fmla="*/ 131 w 553"/>
                    <a:gd name="T9" fmla="*/ 11 h 465"/>
                    <a:gd name="T10" fmla="*/ 182 w 553"/>
                    <a:gd name="T11" fmla="*/ 34 h 465"/>
                    <a:gd name="T12" fmla="*/ 182 w 553"/>
                    <a:gd name="T13" fmla="*/ 51 h 465"/>
                    <a:gd name="T14" fmla="*/ 142 w 553"/>
                    <a:gd name="T15" fmla="*/ 51 h 465"/>
                    <a:gd name="T16" fmla="*/ 177 w 553"/>
                    <a:gd name="T17" fmla="*/ 79 h 465"/>
                    <a:gd name="T18" fmla="*/ 211 w 553"/>
                    <a:gd name="T19" fmla="*/ 68 h 465"/>
                    <a:gd name="T20" fmla="*/ 228 w 553"/>
                    <a:gd name="T21" fmla="*/ 34 h 465"/>
                    <a:gd name="T22" fmla="*/ 256 w 553"/>
                    <a:gd name="T23" fmla="*/ 51 h 465"/>
                    <a:gd name="T24" fmla="*/ 314 w 553"/>
                    <a:gd name="T25" fmla="*/ 51 h 465"/>
                    <a:gd name="T26" fmla="*/ 336 w 553"/>
                    <a:gd name="T27" fmla="*/ 34 h 465"/>
                    <a:gd name="T28" fmla="*/ 376 w 553"/>
                    <a:gd name="T29" fmla="*/ 34 h 465"/>
                    <a:gd name="T30" fmla="*/ 388 w 553"/>
                    <a:gd name="T31" fmla="*/ 51 h 465"/>
                    <a:gd name="T32" fmla="*/ 422 w 553"/>
                    <a:gd name="T33" fmla="*/ 0 h 465"/>
                    <a:gd name="T34" fmla="*/ 450 w 553"/>
                    <a:gd name="T35" fmla="*/ 40 h 465"/>
                    <a:gd name="T36" fmla="*/ 433 w 553"/>
                    <a:gd name="T37" fmla="*/ 57 h 465"/>
                    <a:gd name="T38" fmla="*/ 479 w 553"/>
                    <a:gd name="T39" fmla="*/ 119 h 465"/>
                    <a:gd name="T40" fmla="*/ 445 w 553"/>
                    <a:gd name="T41" fmla="*/ 193 h 465"/>
                    <a:gd name="T42" fmla="*/ 530 w 553"/>
                    <a:gd name="T43" fmla="*/ 261 h 465"/>
                    <a:gd name="T44" fmla="*/ 519 w 553"/>
                    <a:gd name="T45" fmla="*/ 278 h 465"/>
                    <a:gd name="T46" fmla="*/ 519 w 553"/>
                    <a:gd name="T47" fmla="*/ 351 h 465"/>
                    <a:gd name="T48" fmla="*/ 553 w 553"/>
                    <a:gd name="T49" fmla="*/ 363 h 465"/>
                    <a:gd name="T50" fmla="*/ 530 w 553"/>
                    <a:gd name="T51" fmla="*/ 391 h 465"/>
                    <a:gd name="T52" fmla="*/ 445 w 553"/>
                    <a:gd name="T53" fmla="*/ 403 h 465"/>
                    <a:gd name="T54" fmla="*/ 405 w 553"/>
                    <a:gd name="T55" fmla="*/ 448 h 465"/>
                    <a:gd name="T56" fmla="*/ 353 w 553"/>
                    <a:gd name="T57" fmla="*/ 448 h 465"/>
                    <a:gd name="T58" fmla="*/ 319 w 553"/>
                    <a:gd name="T59" fmla="*/ 420 h 465"/>
                    <a:gd name="T60" fmla="*/ 182 w 553"/>
                    <a:gd name="T61" fmla="*/ 437 h 465"/>
                    <a:gd name="T62" fmla="*/ 165 w 553"/>
                    <a:gd name="T63" fmla="*/ 465 h 465"/>
                    <a:gd name="T64" fmla="*/ 142 w 553"/>
                    <a:gd name="T65" fmla="*/ 431 h 465"/>
                    <a:gd name="T66" fmla="*/ 137 w 553"/>
                    <a:gd name="T67" fmla="*/ 334 h 465"/>
                    <a:gd name="T68" fmla="*/ 102 w 553"/>
                    <a:gd name="T69" fmla="*/ 283 h 465"/>
                    <a:gd name="T70" fmla="*/ 114 w 553"/>
                    <a:gd name="T71" fmla="*/ 244 h 465"/>
                    <a:gd name="T72" fmla="*/ 80 w 553"/>
                    <a:gd name="T73" fmla="*/ 244 h 465"/>
                    <a:gd name="T74" fmla="*/ 51 w 553"/>
                    <a:gd name="T75" fmla="*/ 261 h 465"/>
                    <a:gd name="T76" fmla="*/ 28 w 553"/>
                    <a:gd name="T77" fmla="*/ 249 h 465"/>
                    <a:gd name="T78" fmla="*/ 40 w 553"/>
                    <a:gd name="T79" fmla="*/ 204 h 465"/>
                    <a:gd name="T80" fmla="*/ 34 w 553"/>
                    <a:gd name="T81" fmla="*/ 153 h 465"/>
                    <a:gd name="T82" fmla="*/ 68 w 553"/>
                    <a:gd name="T83" fmla="*/ 130 h 465"/>
                    <a:gd name="T84" fmla="*/ 45 w 553"/>
                    <a:gd name="T85" fmla="*/ 91 h 465"/>
                    <a:gd name="T86" fmla="*/ 11 w 553"/>
                    <a:gd name="T87" fmla="*/ 79 h 465"/>
                    <a:gd name="T88" fmla="*/ 0 w 553"/>
                    <a:gd name="T89" fmla="*/ 51 h 465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553"/>
                    <a:gd name="T136" fmla="*/ 0 h 465"/>
                    <a:gd name="T137" fmla="*/ 553 w 553"/>
                    <a:gd name="T138" fmla="*/ 465 h 465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553" h="465">
                      <a:moveTo>
                        <a:pt x="0" y="51"/>
                      </a:moveTo>
                      <a:lnTo>
                        <a:pt x="17" y="34"/>
                      </a:lnTo>
                      <a:lnTo>
                        <a:pt x="80" y="23"/>
                      </a:lnTo>
                      <a:lnTo>
                        <a:pt x="108" y="34"/>
                      </a:lnTo>
                      <a:lnTo>
                        <a:pt x="131" y="11"/>
                      </a:lnTo>
                      <a:lnTo>
                        <a:pt x="182" y="34"/>
                      </a:lnTo>
                      <a:lnTo>
                        <a:pt x="182" y="51"/>
                      </a:lnTo>
                      <a:lnTo>
                        <a:pt x="142" y="51"/>
                      </a:lnTo>
                      <a:lnTo>
                        <a:pt x="177" y="79"/>
                      </a:lnTo>
                      <a:lnTo>
                        <a:pt x="211" y="68"/>
                      </a:lnTo>
                      <a:lnTo>
                        <a:pt x="228" y="34"/>
                      </a:lnTo>
                      <a:lnTo>
                        <a:pt x="256" y="51"/>
                      </a:lnTo>
                      <a:lnTo>
                        <a:pt x="314" y="51"/>
                      </a:lnTo>
                      <a:lnTo>
                        <a:pt x="336" y="34"/>
                      </a:lnTo>
                      <a:lnTo>
                        <a:pt x="376" y="34"/>
                      </a:lnTo>
                      <a:lnTo>
                        <a:pt x="388" y="51"/>
                      </a:lnTo>
                      <a:lnTo>
                        <a:pt x="422" y="0"/>
                      </a:lnTo>
                      <a:lnTo>
                        <a:pt x="450" y="40"/>
                      </a:lnTo>
                      <a:lnTo>
                        <a:pt x="433" y="57"/>
                      </a:lnTo>
                      <a:lnTo>
                        <a:pt x="479" y="119"/>
                      </a:lnTo>
                      <a:lnTo>
                        <a:pt x="445" y="193"/>
                      </a:lnTo>
                      <a:lnTo>
                        <a:pt x="530" y="261"/>
                      </a:lnTo>
                      <a:lnTo>
                        <a:pt x="519" y="278"/>
                      </a:lnTo>
                      <a:lnTo>
                        <a:pt x="519" y="351"/>
                      </a:lnTo>
                      <a:lnTo>
                        <a:pt x="553" y="363"/>
                      </a:lnTo>
                      <a:lnTo>
                        <a:pt x="530" y="391"/>
                      </a:lnTo>
                      <a:lnTo>
                        <a:pt x="445" y="403"/>
                      </a:lnTo>
                      <a:lnTo>
                        <a:pt x="405" y="448"/>
                      </a:lnTo>
                      <a:lnTo>
                        <a:pt x="353" y="448"/>
                      </a:lnTo>
                      <a:lnTo>
                        <a:pt x="319" y="420"/>
                      </a:lnTo>
                      <a:lnTo>
                        <a:pt x="182" y="437"/>
                      </a:lnTo>
                      <a:lnTo>
                        <a:pt x="165" y="465"/>
                      </a:lnTo>
                      <a:lnTo>
                        <a:pt x="142" y="431"/>
                      </a:lnTo>
                      <a:lnTo>
                        <a:pt x="137" y="334"/>
                      </a:lnTo>
                      <a:lnTo>
                        <a:pt x="102" y="283"/>
                      </a:lnTo>
                      <a:lnTo>
                        <a:pt x="114" y="244"/>
                      </a:lnTo>
                      <a:lnTo>
                        <a:pt x="80" y="244"/>
                      </a:lnTo>
                      <a:lnTo>
                        <a:pt x="51" y="261"/>
                      </a:lnTo>
                      <a:lnTo>
                        <a:pt x="28" y="249"/>
                      </a:lnTo>
                      <a:lnTo>
                        <a:pt x="40" y="204"/>
                      </a:lnTo>
                      <a:lnTo>
                        <a:pt x="34" y="153"/>
                      </a:lnTo>
                      <a:lnTo>
                        <a:pt x="68" y="130"/>
                      </a:lnTo>
                      <a:lnTo>
                        <a:pt x="45" y="91"/>
                      </a:lnTo>
                      <a:lnTo>
                        <a:pt x="11" y="79"/>
                      </a:lnTo>
                      <a:lnTo>
                        <a:pt x="0" y="51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952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5" name="Freeform 76"/>
                <p:cNvSpPr>
                  <a:spLocks/>
                </p:cNvSpPr>
                <p:nvPr/>
              </p:nvSpPr>
              <p:spPr bwMode="auto">
                <a:xfrm>
                  <a:off x="1593" y="2795"/>
                  <a:ext cx="630" cy="625"/>
                </a:xfrm>
                <a:custGeom>
                  <a:avLst/>
                  <a:gdLst/>
                  <a:ahLst/>
                  <a:cxnLst>
                    <a:cxn ang="0">
                      <a:pos x="69" y="136"/>
                    </a:cxn>
                    <a:cxn ang="0">
                      <a:pos x="143" y="148"/>
                    </a:cxn>
                    <a:cxn ang="0">
                      <a:pos x="177" y="119"/>
                    </a:cxn>
                    <a:cxn ang="0">
                      <a:pos x="252" y="108"/>
                    </a:cxn>
                    <a:cxn ang="0">
                      <a:pos x="252" y="57"/>
                    </a:cxn>
                    <a:cxn ang="0">
                      <a:pos x="286" y="63"/>
                    </a:cxn>
                    <a:cxn ang="0">
                      <a:pos x="371" y="12"/>
                    </a:cxn>
                    <a:cxn ang="0">
                      <a:pos x="411" y="34"/>
                    </a:cxn>
                    <a:cxn ang="0">
                      <a:pos x="440" y="0"/>
                    </a:cxn>
                    <a:cxn ang="0">
                      <a:pos x="468" y="0"/>
                    </a:cxn>
                    <a:cxn ang="0">
                      <a:pos x="457" y="46"/>
                    </a:cxn>
                    <a:cxn ang="0">
                      <a:pos x="474" y="57"/>
                    </a:cxn>
                    <a:cxn ang="0">
                      <a:pos x="503" y="40"/>
                    </a:cxn>
                    <a:cxn ang="0">
                      <a:pos x="537" y="40"/>
                    </a:cxn>
                    <a:cxn ang="0">
                      <a:pos x="531" y="80"/>
                    </a:cxn>
                    <a:cxn ang="0">
                      <a:pos x="565" y="136"/>
                    </a:cxn>
                    <a:cxn ang="0">
                      <a:pos x="565" y="227"/>
                    </a:cxn>
                    <a:cxn ang="0">
                      <a:pos x="594" y="261"/>
                    </a:cxn>
                    <a:cxn ang="0">
                      <a:pos x="611" y="290"/>
                    </a:cxn>
                    <a:cxn ang="0">
                      <a:pos x="628" y="346"/>
                    </a:cxn>
                    <a:cxn ang="0">
                      <a:pos x="577" y="397"/>
                    </a:cxn>
                    <a:cxn ang="0">
                      <a:pos x="605" y="426"/>
                    </a:cxn>
                    <a:cxn ang="0">
                      <a:pos x="565" y="437"/>
                    </a:cxn>
                    <a:cxn ang="0">
                      <a:pos x="537" y="494"/>
                    </a:cxn>
                    <a:cxn ang="0">
                      <a:pos x="457" y="505"/>
                    </a:cxn>
                    <a:cxn ang="0">
                      <a:pos x="411" y="567"/>
                    </a:cxn>
                    <a:cxn ang="0">
                      <a:pos x="400" y="556"/>
                    </a:cxn>
                    <a:cxn ang="0">
                      <a:pos x="366" y="590"/>
                    </a:cxn>
                    <a:cxn ang="0">
                      <a:pos x="326" y="596"/>
                    </a:cxn>
                    <a:cxn ang="0">
                      <a:pos x="297" y="550"/>
                    </a:cxn>
                    <a:cxn ang="0">
                      <a:pos x="234" y="624"/>
                    </a:cxn>
                    <a:cxn ang="0">
                      <a:pos x="206" y="607"/>
                    </a:cxn>
                    <a:cxn ang="0">
                      <a:pos x="160" y="619"/>
                    </a:cxn>
                    <a:cxn ang="0">
                      <a:pos x="183" y="590"/>
                    </a:cxn>
                    <a:cxn ang="0">
                      <a:pos x="166" y="550"/>
                    </a:cxn>
                    <a:cxn ang="0">
                      <a:pos x="57" y="545"/>
                    </a:cxn>
                    <a:cxn ang="0">
                      <a:pos x="23" y="511"/>
                    </a:cxn>
                    <a:cxn ang="0">
                      <a:pos x="0" y="448"/>
                    </a:cxn>
                    <a:cxn ang="0">
                      <a:pos x="12" y="414"/>
                    </a:cxn>
                    <a:cxn ang="0">
                      <a:pos x="0" y="363"/>
                    </a:cxn>
                    <a:cxn ang="0">
                      <a:pos x="46" y="301"/>
                    </a:cxn>
                    <a:cxn ang="0">
                      <a:pos x="18" y="267"/>
                    </a:cxn>
                    <a:cxn ang="0">
                      <a:pos x="40" y="256"/>
                    </a:cxn>
                    <a:cxn ang="0">
                      <a:pos x="46" y="199"/>
                    </a:cxn>
                    <a:cxn ang="0">
                      <a:pos x="63" y="182"/>
                    </a:cxn>
                    <a:cxn ang="0">
                      <a:pos x="69" y="136"/>
                    </a:cxn>
                  </a:cxnLst>
                  <a:rect l="0" t="0" r="r" b="b"/>
                  <a:pathLst>
                    <a:path w="628" h="624">
                      <a:moveTo>
                        <a:pt x="69" y="136"/>
                      </a:moveTo>
                      <a:lnTo>
                        <a:pt x="143" y="148"/>
                      </a:lnTo>
                      <a:lnTo>
                        <a:pt x="177" y="119"/>
                      </a:lnTo>
                      <a:lnTo>
                        <a:pt x="252" y="108"/>
                      </a:lnTo>
                      <a:lnTo>
                        <a:pt x="252" y="57"/>
                      </a:lnTo>
                      <a:lnTo>
                        <a:pt x="286" y="63"/>
                      </a:lnTo>
                      <a:lnTo>
                        <a:pt x="371" y="12"/>
                      </a:lnTo>
                      <a:lnTo>
                        <a:pt x="411" y="34"/>
                      </a:lnTo>
                      <a:lnTo>
                        <a:pt x="440" y="0"/>
                      </a:lnTo>
                      <a:lnTo>
                        <a:pt x="468" y="0"/>
                      </a:lnTo>
                      <a:lnTo>
                        <a:pt x="457" y="46"/>
                      </a:lnTo>
                      <a:lnTo>
                        <a:pt x="474" y="57"/>
                      </a:lnTo>
                      <a:lnTo>
                        <a:pt x="503" y="40"/>
                      </a:lnTo>
                      <a:lnTo>
                        <a:pt x="537" y="40"/>
                      </a:lnTo>
                      <a:lnTo>
                        <a:pt x="531" y="80"/>
                      </a:lnTo>
                      <a:lnTo>
                        <a:pt x="565" y="136"/>
                      </a:lnTo>
                      <a:lnTo>
                        <a:pt x="565" y="227"/>
                      </a:lnTo>
                      <a:lnTo>
                        <a:pt x="594" y="261"/>
                      </a:lnTo>
                      <a:lnTo>
                        <a:pt x="611" y="290"/>
                      </a:lnTo>
                      <a:lnTo>
                        <a:pt x="628" y="346"/>
                      </a:lnTo>
                      <a:lnTo>
                        <a:pt x="577" y="397"/>
                      </a:lnTo>
                      <a:lnTo>
                        <a:pt x="605" y="426"/>
                      </a:lnTo>
                      <a:lnTo>
                        <a:pt x="565" y="437"/>
                      </a:lnTo>
                      <a:lnTo>
                        <a:pt x="537" y="494"/>
                      </a:lnTo>
                      <a:lnTo>
                        <a:pt x="457" y="505"/>
                      </a:lnTo>
                      <a:lnTo>
                        <a:pt x="411" y="567"/>
                      </a:lnTo>
                      <a:lnTo>
                        <a:pt x="400" y="556"/>
                      </a:lnTo>
                      <a:lnTo>
                        <a:pt x="366" y="590"/>
                      </a:lnTo>
                      <a:lnTo>
                        <a:pt x="326" y="596"/>
                      </a:lnTo>
                      <a:lnTo>
                        <a:pt x="297" y="550"/>
                      </a:lnTo>
                      <a:lnTo>
                        <a:pt x="234" y="624"/>
                      </a:lnTo>
                      <a:lnTo>
                        <a:pt x="206" y="607"/>
                      </a:lnTo>
                      <a:lnTo>
                        <a:pt x="160" y="619"/>
                      </a:lnTo>
                      <a:lnTo>
                        <a:pt x="183" y="590"/>
                      </a:lnTo>
                      <a:lnTo>
                        <a:pt x="166" y="550"/>
                      </a:lnTo>
                      <a:lnTo>
                        <a:pt x="57" y="545"/>
                      </a:lnTo>
                      <a:lnTo>
                        <a:pt x="23" y="511"/>
                      </a:lnTo>
                      <a:lnTo>
                        <a:pt x="0" y="448"/>
                      </a:lnTo>
                      <a:lnTo>
                        <a:pt x="12" y="414"/>
                      </a:lnTo>
                      <a:lnTo>
                        <a:pt x="0" y="363"/>
                      </a:lnTo>
                      <a:lnTo>
                        <a:pt x="46" y="301"/>
                      </a:lnTo>
                      <a:lnTo>
                        <a:pt x="18" y="267"/>
                      </a:lnTo>
                      <a:lnTo>
                        <a:pt x="40" y="256"/>
                      </a:lnTo>
                      <a:lnTo>
                        <a:pt x="46" y="199"/>
                      </a:lnTo>
                      <a:lnTo>
                        <a:pt x="63" y="182"/>
                      </a:lnTo>
                      <a:lnTo>
                        <a:pt x="69" y="136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16" name="Freeform 78"/>
                <p:cNvSpPr>
                  <a:spLocks/>
                </p:cNvSpPr>
                <p:nvPr/>
              </p:nvSpPr>
              <p:spPr bwMode="auto">
                <a:xfrm>
                  <a:off x="1333" y="2376"/>
                  <a:ext cx="758" cy="619"/>
                </a:xfrm>
                <a:custGeom>
                  <a:avLst/>
                  <a:gdLst/>
                  <a:ahLst/>
                  <a:cxnLst>
                    <a:cxn ang="0">
                      <a:pos x="160" y="85"/>
                    </a:cxn>
                    <a:cxn ang="0">
                      <a:pos x="177" y="34"/>
                    </a:cxn>
                    <a:cxn ang="0">
                      <a:pos x="234" y="6"/>
                    </a:cxn>
                    <a:cxn ang="0">
                      <a:pos x="286" y="17"/>
                    </a:cxn>
                    <a:cxn ang="0">
                      <a:pos x="314" y="6"/>
                    </a:cxn>
                    <a:cxn ang="0">
                      <a:pos x="371" y="40"/>
                    </a:cxn>
                    <a:cxn ang="0">
                      <a:pos x="405" y="0"/>
                    </a:cxn>
                    <a:cxn ang="0">
                      <a:pos x="440" y="29"/>
                    </a:cxn>
                    <a:cxn ang="0">
                      <a:pos x="440" y="46"/>
                    </a:cxn>
                    <a:cxn ang="0">
                      <a:pos x="462" y="68"/>
                    </a:cxn>
                    <a:cxn ang="0">
                      <a:pos x="485" y="46"/>
                    </a:cxn>
                    <a:cxn ang="0">
                      <a:pos x="571" y="63"/>
                    </a:cxn>
                    <a:cxn ang="0">
                      <a:pos x="605" y="57"/>
                    </a:cxn>
                    <a:cxn ang="0">
                      <a:pos x="628" y="97"/>
                    </a:cxn>
                    <a:cxn ang="0">
                      <a:pos x="674" y="102"/>
                    </a:cxn>
                    <a:cxn ang="0">
                      <a:pos x="679" y="187"/>
                    </a:cxn>
                    <a:cxn ang="0">
                      <a:pos x="662" y="204"/>
                    </a:cxn>
                    <a:cxn ang="0">
                      <a:pos x="674" y="233"/>
                    </a:cxn>
                    <a:cxn ang="0">
                      <a:pos x="656" y="278"/>
                    </a:cxn>
                    <a:cxn ang="0">
                      <a:pos x="691" y="267"/>
                    </a:cxn>
                    <a:cxn ang="0">
                      <a:pos x="702" y="295"/>
                    </a:cxn>
                    <a:cxn ang="0">
                      <a:pos x="736" y="301"/>
                    </a:cxn>
                    <a:cxn ang="0">
                      <a:pos x="759" y="341"/>
                    </a:cxn>
                    <a:cxn ang="0">
                      <a:pos x="725" y="369"/>
                    </a:cxn>
                    <a:cxn ang="0">
                      <a:pos x="731" y="414"/>
                    </a:cxn>
                    <a:cxn ang="0">
                      <a:pos x="702" y="420"/>
                    </a:cxn>
                    <a:cxn ang="0">
                      <a:pos x="679" y="448"/>
                    </a:cxn>
                    <a:cxn ang="0">
                      <a:pos x="634" y="431"/>
                    </a:cxn>
                    <a:cxn ang="0">
                      <a:pos x="548" y="477"/>
                    </a:cxn>
                    <a:cxn ang="0">
                      <a:pos x="514" y="477"/>
                    </a:cxn>
                    <a:cxn ang="0">
                      <a:pos x="514" y="522"/>
                    </a:cxn>
                    <a:cxn ang="0">
                      <a:pos x="440" y="533"/>
                    </a:cxn>
                    <a:cxn ang="0">
                      <a:pos x="405" y="562"/>
                    </a:cxn>
                    <a:cxn ang="0">
                      <a:pos x="331" y="550"/>
                    </a:cxn>
                    <a:cxn ang="0">
                      <a:pos x="325" y="601"/>
                    </a:cxn>
                    <a:cxn ang="0">
                      <a:pos x="308" y="619"/>
                    </a:cxn>
                    <a:cxn ang="0">
                      <a:pos x="211" y="584"/>
                    </a:cxn>
                    <a:cxn ang="0">
                      <a:pos x="234" y="505"/>
                    </a:cxn>
                    <a:cxn ang="0">
                      <a:pos x="274" y="465"/>
                    </a:cxn>
                    <a:cxn ang="0">
                      <a:pos x="280" y="426"/>
                    </a:cxn>
                    <a:cxn ang="0">
                      <a:pos x="206" y="403"/>
                    </a:cxn>
                    <a:cxn ang="0">
                      <a:pos x="80" y="324"/>
                    </a:cxn>
                    <a:cxn ang="0">
                      <a:pos x="92" y="284"/>
                    </a:cxn>
                    <a:cxn ang="0">
                      <a:pos x="46" y="239"/>
                    </a:cxn>
                    <a:cxn ang="0">
                      <a:pos x="0" y="233"/>
                    </a:cxn>
                    <a:cxn ang="0">
                      <a:pos x="0" y="199"/>
                    </a:cxn>
                    <a:cxn ang="0">
                      <a:pos x="52" y="176"/>
                    </a:cxn>
                    <a:cxn ang="0">
                      <a:pos x="86" y="131"/>
                    </a:cxn>
                    <a:cxn ang="0">
                      <a:pos x="103" y="136"/>
                    </a:cxn>
                    <a:cxn ang="0">
                      <a:pos x="160" y="85"/>
                    </a:cxn>
                  </a:cxnLst>
                  <a:rect l="0" t="0" r="r" b="b"/>
                  <a:pathLst>
                    <a:path w="759" h="619">
                      <a:moveTo>
                        <a:pt x="160" y="85"/>
                      </a:moveTo>
                      <a:lnTo>
                        <a:pt x="177" y="34"/>
                      </a:lnTo>
                      <a:lnTo>
                        <a:pt x="234" y="6"/>
                      </a:lnTo>
                      <a:lnTo>
                        <a:pt x="286" y="17"/>
                      </a:lnTo>
                      <a:lnTo>
                        <a:pt x="314" y="6"/>
                      </a:lnTo>
                      <a:lnTo>
                        <a:pt x="371" y="40"/>
                      </a:lnTo>
                      <a:lnTo>
                        <a:pt x="405" y="0"/>
                      </a:lnTo>
                      <a:lnTo>
                        <a:pt x="440" y="29"/>
                      </a:lnTo>
                      <a:lnTo>
                        <a:pt x="440" y="46"/>
                      </a:lnTo>
                      <a:lnTo>
                        <a:pt x="462" y="68"/>
                      </a:lnTo>
                      <a:lnTo>
                        <a:pt x="485" y="46"/>
                      </a:lnTo>
                      <a:lnTo>
                        <a:pt x="571" y="63"/>
                      </a:lnTo>
                      <a:lnTo>
                        <a:pt x="605" y="57"/>
                      </a:lnTo>
                      <a:lnTo>
                        <a:pt x="628" y="97"/>
                      </a:lnTo>
                      <a:lnTo>
                        <a:pt x="674" y="102"/>
                      </a:lnTo>
                      <a:lnTo>
                        <a:pt x="679" y="187"/>
                      </a:lnTo>
                      <a:lnTo>
                        <a:pt x="662" y="204"/>
                      </a:lnTo>
                      <a:lnTo>
                        <a:pt x="674" y="233"/>
                      </a:lnTo>
                      <a:lnTo>
                        <a:pt x="656" y="278"/>
                      </a:lnTo>
                      <a:lnTo>
                        <a:pt x="691" y="267"/>
                      </a:lnTo>
                      <a:lnTo>
                        <a:pt x="702" y="295"/>
                      </a:lnTo>
                      <a:lnTo>
                        <a:pt x="736" y="301"/>
                      </a:lnTo>
                      <a:lnTo>
                        <a:pt x="759" y="341"/>
                      </a:lnTo>
                      <a:lnTo>
                        <a:pt x="725" y="369"/>
                      </a:lnTo>
                      <a:lnTo>
                        <a:pt x="731" y="414"/>
                      </a:lnTo>
                      <a:lnTo>
                        <a:pt x="702" y="420"/>
                      </a:lnTo>
                      <a:lnTo>
                        <a:pt x="679" y="448"/>
                      </a:lnTo>
                      <a:lnTo>
                        <a:pt x="634" y="431"/>
                      </a:lnTo>
                      <a:lnTo>
                        <a:pt x="548" y="477"/>
                      </a:lnTo>
                      <a:lnTo>
                        <a:pt x="514" y="477"/>
                      </a:lnTo>
                      <a:lnTo>
                        <a:pt x="514" y="522"/>
                      </a:lnTo>
                      <a:lnTo>
                        <a:pt x="440" y="533"/>
                      </a:lnTo>
                      <a:lnTo>
                        <a:pt x="405" y="562"/>
                      </a:lnTo>
                      <a:lnTo>
                        <a:pt x="331" y="550"/>
                      </a:lnTo>
                      <a:lnTo>
                        <a:pt x="325" y="601"/>
                      </a:lnTo>
                      <a:lnTo>
                        <a:pt x="308" y="619"/>
                      </a:lnTo>
                      <a:lnTo>
                        <a:pt x="211" y="584"/>
                      </a:lnTo>
                      <a:lnTo>
                        <a:pt x="234" y="505"/>
                      </a:lnTo>
                      <a:lnTo>
                        <a:pt x="274" y="465"/>
                      </a:lnTo>
                      <a:lnTo>
                        <a:pt x="280" y="426"/>
                      </a:lnTo>
                      <a:lnTo>
                        <a:pt x="206" y="403"/>
                      </a:lnTo>
                      <a:lnTo>
                        <a:pt x="80" y="324"/>
                      </a:lnTo>
                      <a:lnTo>
                        <a:pt x="92" y="284"/>
                      </a:lnTo>
                      <a:lnTo>
                        <a:pt x="46" y="239"/>
                      </a:lnTo>
                      <a:lnTo>
                        <a:pt x="0" y="233"/>
                      </a:lnTo>
                      <a:lnTo>
                        <a:pt x="0" y="199"/>
                      </a:lnTo>
                      <a:lnTo>
                        <a:pt x="52" y="176"/>
                      </a:lnTo>
                      <a:lnTo>
                        <a:pt x="86" y="131"/>
                      </a:lnTo>
                      <a:lnTo>
                        <a:pt x="103" y="136"/>
                      </a:lnTo>
                      <a:lnTo>
                        <a:pt x="160" y="85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3"/>
                </a:fillRef>
                <a:effectRef idx="1">
                  <a:schemeClr val="accent3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17" name="Freeform 81"/>
                <p:cNvSpPr>
                  <a:spLocks/>
                </p:cNvSpPr>
                <p:nvPr/>
              </p:nvSpPr>
              <p:spPr bwMode="auto">
                <a:xfrm>
                  <a:off x="1054" y="2585"/>
                  <a:ext cx="593" cy="677"/>
                </a:xfrm>
                <a:custGeom>
                  <a:avLst/>
                  <a:gdLst>
                    <a:gd name="T0" fmla="*/ 0 w 593"/>
                    <a:gd name="T1" fmla="*/ 159 h 675"/>
                    <a:gd name="T2" fmla="*/ 40 w 593"/>
                    <a:gd name="T3" fmla="*/ 147 h 675"/>
                    <a:gd name="T4" fmla="*/ 62 w 593"/>
                    <a:gd name="T5" fmla="*/ 102 h 675"/>
                    <a:gd name="T6" fmla="*/ 97 w 593"/>
                    <a:gd name="T7" fmla="*/ 96 h 675"/>
                    <a:gd name="T8" fmla="*/ 108 w 593"/>
                    <a:gd name="T9" fmla="*/ 62 h 675"/>
                    <a:gd name="T10" fmla="*/ 194 w 593"/>
                    <a:gd name="T11" fmla="*/ 57 h 675"/>
                    <a:gd name="T12" fmla="*/ 194 w 593"/>
                    <a:gd name="T13" fmla="*/ 0 h 675"/>
                    <a:gd name="T14" fmla="*/ 239 w 593"/>
                    <a:gd name="T15" fmla="*/ 28 h 675"/>
                    <a:gd name="T16" fmla="*/ 279 w 593"/>
                    <a:gd name="T17" fmla="*/ 28 h 675"/>
                    <a:gd name="T18" fmla="*/ 325 w 593"/>
                    <a:gd name="T19" fmla="*/ 34 h 675"/>
                    <a:gd name="T20" fmla="*/ 371 w 593"/>
                    <a:gd name="T21" fmla="*/ 79 h 675"/>
                    <a:gd name="T22" fmla="*/ 353 w 593"/>
                    <a:gd name="T23" fmla="*/ 119 h 675"/>
                    <a:gd name="T24" fmla="*/ 485 w 593"/>
                    <a:gd name="T25" fmla="*/ 198 h 675"/>
                    <a:gd name="T26" fmla="*/ 559 w 593"/>
                    <a:gd name="T27" fmla="*/ 221 h 675"/>
                    <a:gd name="T28" fmla="*/ 553 w 593"/>
                    <a:gd name="T29" fmla="*/ 261 h 675"/>
                    <a:gd name="T30" fmla="*/ 513 w 593"/>
                    <a:gd name="T31" fmla="*/ 295 h 675"/>
                    <a:gd name="T32" fmla="*/ 490 w 593"/>
                    <a:gd name="T33" fmla="*/ 380 h 675"/>
                    <a:gd name="T34" fmla="*/ 593 w 593"/>
                    <a:gd name="T35" fmla="*/ 408 h 675"/>
                    <a:gd name="T36" fmla="*/ 587 w 593"/>
                    <a:gd name="T37" fmla="*/ 465 h 675"/>
                    <a:gd name="T38" fmla="*/ 565 w 593"/>
                    <a:gd name="T39" fmla="*/ 476 h 675"/>
                    <a:gd name="T40" fmla="*/ 593 w 593"/>
                    <a:gd name="T41" fmla="*/ 510 h 675"/>
                    <a:gd name="T42" fmla="*/ 542 w 593"/>
                    <a:gd name="T43" fmla="*/ 578 h 675"/>
                    <a:gd name="T44" fmla="*/ 559 w 593"/>
                    <a:gd name="T45" fmla="*/ 618 h 675"/>
                    <a:gd name="T46" fmla="*/ 542 w 593"/>
                    <a:gd name="T47" fmla="*/ 652 h 675"/>
                    <a:gd name="T48" fmla="*/ 502 w 593"/>
                    <a:gd name="T49" fmla="*/ 675 h 675"/>
                    <a:gd name="T50" fmla="*/ 468 w 593"/>
                    <a:gd name="T51" fmla="*/ 629 h 675"/>
                    <a:gd name="T52" fmla="*/ 422 w 593"/>
                    <a:gd name="T53" fmla="*/ 641 h 675"/>
                    <a:gd name="T54" fmla="*/ 416 w 593"/>
                    <a:gd name="T55" fmla="*/ 573 h 675"/>
                    <a:gd name="T56" fmla="*/ 291 w 593"/>
                    <a:gd name="T57" fmla="*/ 522 h 675"/>
                    <a:gd name="T58" fmla="*/ 234 w 593"/>
                    <a:gd name="T59" fmla="*/ 533 h 675"/>
                    <a:gd name="T60" fmla="*/ 159 w 593"/>
                    <a:gd name="T61" fmla="*/ 420 h 675"/>
                    <a:gd name="T62" fmla="*/ 119 w 593"/>
                    <a:gd name="T63" fmla="*/ 414 h 675"/>
                    <a:gd name="T64" fmla="*/ 119 w 593"/>
                    <a:gd name="T65" fmla="*/ 357 h 675"/>
                    <a:gd name="T66" fmla="*/ 85 w 593"/>
                    <a:gd name="T67" fmla="*/ 306 h 675"/>
                    <a:gd name="T68" fmla="*/ 97 w 593"/>
                    <a:gd name="T69" fmla="*/ 289 h 675"/>
                    <a:gd name="T70" fmla="*/ 22 w 593"/>
                    <a:gd name="T71" fmla="*/ 232 h 675"/>
                    <a:gd name="T72" fmla="*/ 0 w 593"/>
                    <a:gd name="T73" fmla="*/ 159 h 675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593"/>
                    <a:gd name="T112" fmla="*/ 0 h 675"/>
                    <a:gd name="T113" fmla="*/ 593 w 593"/>
                    <a:gd name="T114" fmla="*/ 675 h 675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593" h="675">
                      <a:moveTo>
                        <a:pt x="0" y="159"/>
                      </a:moveTo>
                      <a:lnTo>
                        <a:pt x="40" y="147"/>
                      </a:lnTo>
                      <a:lnTo>
                        <a:pt x="62" y="102"/>
                      </a:lnTo>
                      <a:lnTo>
                        <a:pt x="97" y="96"/>
                      </a:lnTo>
                      <a:lnTo>
                        <a:pt x="108" y="62"/>
                      </a:lnTo>
                      <a:lnTo>
                        <a:pt x="194" y="57"/>
                      </a:lnTo>
                      <a:lnTo>
                        <a:pt x="194" y="0"/>
                      </a:lnTo>
                      <a:lnTo>
                        <a:pt x="239" y="28"/>
                      </a:lnTo>
                      <a:lnTo>
                        <a:pt x="279" y="28"/>
                      </a:lnTo>
                      <a:lnTo>
                        <a:pt x="325" y="34"/>
                      </a:lnTo>
                      <a:lnTo>
                        <a:pt x="371" y="79"/>
                      </a:lnTo>
                      <a:lnTo>
                        <a:pt x="353" y="119"/>
                      </a:lnTo>
                      <a:lnTo>
                        <a:pt x="485" y="198"/>
                      </a:lnTo>
                      <a:lnTo>
                        <a:pt x="559" y="221"/>
                      </a:lnTo>
                      <a:lnTo>
                        <a:pt x="553" y="261"/>
                      </a:lnTo>
                      <a:lnTo>
                        <a:pt x="513" y="295"/>
                      </a:lnTo>
                      <a:lnTo>
                        <a:pt x="490" y="380"/>
                      </a:lnTo>
                      <a:lnTo>
                        <a:pt x="593" y="408"/>
                      </a:lnTo>
                      <a:lnTo>
                        <a:pt x="587" y="465"/>
                      </a:lnTo>
                      <a:lnTo>
                        <a:pt x="565" y="476"/>
                      </a:lnTo>
                      <a:lnTo>
                        <a:pt x="593" y="510"/>
                      </a:lnTo>
                      <a:lnTo>
                        <a:pt x="542" y="578"/>
                      </a:lnTo>
                      <a:lnTo>
                        <a:pt x="559" y="618"/>
                      </a:lnTo>
                      <a:lnTo>
                        <a:pt x="542" y="652"/>
                      </a:lnTo>
                      <a:lnTo>
                        <a:pt x="502" y="675"/>
                      </a:lnTo>
                      <a:lnTo>
                        <a:pt x="468" y="629"/>
                      </a:lnTo>
                      <a:lnTo>
                        <a:pt x="422" y="641"/>
                      </a:lnTo>
                      <a:lnTo>
                        <a:pt x="416" y="573"/>
                      </a:lnTo>
                      <a:lnTo>
                        <a:pt x="291" y="522"/>
                      </a:lnTo>
                      <a:lnTo>
                        <a:pt x="234" y="533"/>
                      </a:lnTo>
                      <a:lnTo>
                        <a:pt x="159" y="420"/>
                      </a:lnTo>
                      <a:lnTo>
                        <a:pt x="119" y="414"/>
                      </a:lnTo>
                      <a:lnTo>
                        <a:pt x="119" y="357"/>
                      </a:lnTo>
                      <a:lnTo>
                        <a:pt x="85" y="306"/>
                      </a:lnTo>
                      <a:lnTo>
                        <a:pt x="97" y="289"/>
                      </a:lnTo>
                      <a:lnTo>
                        <a:pt x="22" y="232"/>
                      </a:lnTo>
                      <a:lnTo>
                        <a:pt x="0" y="159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8" name="Freeform 83"/>
                <p:cNvSpPr>
                  <a:spLocks/>
                </p:cNvSpPr>
                <p:nvPr/>
              </p:nvSpPr>
              <p:spPr bwMode="auto">
                <a:xfrm>
                  <a:off x="758" y="2710"/>
                  <a:ext cx="866" cy="731"/>
                </a:xfrm>
                <a:custGeom>
                  <a:avLst/>
                  <a:gdLst>
                    <a:gd name="T0" fmla="*/ 0 w 867"/>
                    <a:gd name="T1" fmla="*/ 193 h 732"/>
                    <a:gd name="T2" fmla="*/ 17 w 867"/>
                    <a:gd name="T3" fmla="*/ 170 h 732"/>
                    <a:gd name="T4" fmla="*/ 80 w 867"/>
                    <a:gd name="T5" fmla="*/ 159 h 732"/>
                    <a:gd name="T6" fmla="*/ 154 w 867"/>
                    <a:gd name="T7" fmla="*/ 119 h 732"/>
                    <a:gd name="T8" fmla="*/ 148 w 867"/>
                    <a:gd name="T9" fmla="*/ 91 h 732"/>
                    <a:gd name="T10" fmla="*/ 205 w 867"/>
                    <a:gd name="T11" fmla="*/ 12 h 732"/>
                    <a:gd name="T12" fmla="*/ 228 w 867"/>
                    <a:gd name="T13" fmla="*/ 34 h 732"/>
                    <a:gd name="T14" fmla="*/ 279 w 867"/>
                    <a:gd name="T15" fmla="*/ 0 h 732"/>
                    <a:gd name="T16" fmla="*/ 296 w 867"/>
                    <a:gd name="T17" fmla="*/ 34 h 732"/>
                    <a:gd name="T18" fmla="*/ 319 w 867"/>
                    <a:gd name="T19" fmla="*/ 108 h 732"/>
                    <a:gd name="T20" fmla="*/ 393 w 867"/>
                    <a:gd name="T21" fmla="*/ 165 h 732"/>
                    <a:gd name="T22" fmla="*/ 382 w 867"/>
                    <a:gd name="T23" fmla="*/ 187 h 732"/>
                    <a:gd name="T24" fmla="*/ 410 w 867"/>
                    <a:gd name="T25" fmla="*/ 233 h 732"/>
                    <a:gd name="T26" fmla="*/ 422 w 867"/>
                    <a:gd name="T27" fmla="*/ 290 h 732"/>
                    <a:gd name="T28" fmla="*/ 456 w 867"/>
                    <a:gd name="T29" fmla="*/ 301 h 732"/>
                    <a:gd name="T30" fmla="*/ 530 w 867"/>
                    <a:gd name="T31" fmla="*/ 409 h 732"/>
                    <a:gd name="T32" fmla="*/ 587 w 867"/>
                    <a:gd name="T33" fmla="*/ 403 h 732"/>
                    <a:gd name="T34" fmla="*/ 713 w 867"/>
                    <a:gd name="T35" fmla="*/ 448 h 732"/>
                    <a:gd name="T36" fmla="*/ 719 w 867"/>
                    <a:gd name="T37" fmla="*/ 511 h 732"/>
                    <a:gd name="T38" fmla="*/ 759 w 867"/>
                    <a:gd name="T39" fmla="*/ 505 h 732"/>
                    <a:gd name="T40" fmla="*/ 798 w 867"/>
                    <a:gd name="T41" fmla="*/ 550 h 732"/>
                    <a:gd name="T42" fmla="*/ 838 w 867"/>
                    <a:gd name="T43" fmla="*/ 533 h 732"/>
                    <a:gd name="T44" fmla="*/ 867 w 867"/>
                    <a:gd name="T45" fmla="*/ 596 h 732"/>
                    <a:gd name="T46" fmla="*/ 833 w 867"/>
                    <a:gd name="T47" fmla="*/ 596 h 732"/>
                    <a:gd name="T48" fmla="*/ 816 w 867"/>
                    <a:gd name="T49" fmla="*/ 647 h 732"/>
                    <a:gd name="T50" fmla="*/ 713 w 867"/>
                    <a:gd name="T51" fmla="*/ 704 h 732"/>
                    <a:gd name="T52" fmla="*/ 690 w 867"/>
                    <a:gd name="T53" fmla="*/ 635 h 732"/>
                    <a:gd name="T54" fmla="*/ 650 w 867"/>
                    <a:gd name="T55" fmla="*/ 641 h 732"/>
                    <a:gd name="T56" fmla="*/ 633 w 867"/>
                    <a:gd name="T57" fmla="*/ 670 h 732"/>
                    <a:gd name="T58" fmla="*/ 525 w 867"/>
                    <a:gd name="T59" fmla="*/ 698 h 732"/>
                    <a:gd name="T60" fmla="*/ 479 w 867"/>
                    <a:gd name="T61" fmla="*/ 732 h 732"/>
                    <a:gd name="T62" fmla="*/ 450 w 867"/>
                    <a:gd name="T63" fmla="*/ 726 h 732"/>
                    <a:gd name="T64" fmla="*/ 428 w 867"/>
                    <a:gd name="T65" fmla="*/ 670 h 732"/>
                    <a:gd name="T66" fmla="*/ 405 w 867"/>
                    <a:gd name="T67" fmla="*/ 670 h 732"/>
                    <a:gd name="T68" fmla="*/ 382 w 867"/>
                    <a:gd name="T69" fmla="*/ 624 h 732"/>
                    <a:gd name="T70" fmla="*/ 348 w 867"/>
                    <a:gd name="T71" fmla="*/ 618 h 732"/>
                    <a:gd name="T72" fmla="*/ 296 w 867"/>
                    <a:gd name="T73" fmla="*/ 567 h 732"/>
                    <a:gd name="T74" fmla="*/ 256 w 867"/>
                    <a:gd name="T75" fmla="*/ 567 h 732"/>
                    <a:gd name="T76" fmla="*/ 194 w 867"/>
                    <a:gd name="T77" fmla="*/ 528 h 732"/>
                    <a:gd name="T78" fmla="*/ 159 w 867"/>
                    <a:gd name="T79" fmla="*/ 533 h 732"/>
                    <a:gd name="T80" fmla="*/ 131 w 867"/>
                    <a:gd name="T81" fmla="*/ 499 h 732"/>
                    <a:gd name="T82" fmla="*/ 142 w 867"/>
                    <a:gd name="T83" fmla="*/ 443 h 732"/>
                    <a:gd name="T84" fmla="*/ 182 w 867"/>
                    <a:gd name="T85" fmla="*/ 392 h 732"/>
                    <a:gd name="T86" fmla="*/ 142 w 867"/>
                    <a:gd name="T87" fmla="*/ 341 h 732"/>
                    <a:gd name="T88" fmla="*/ 154 w 867"/>
                    <a:gd name="T89" fmla="*/ 312 h 732"/>
                    <a:gd name="T90" fmla="*/ 131 w 867"/>
                    <a:gd name="T91" fmla="*/ 278 h 732"/>
                    <a:gd name="T92" fmla="*/ 34 w 867"/>
                    <a:gd name="T93" fmla="*/ 278 h 732"/>
                    <a:gd name="T94" fmla="*/ 0 w 867"/>
                    <a:gd name="T95" fmla="*/ 193 h 732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867"/>
                    <a:gd name="T145" fmla="*/ 0 h 732"/>
                    <a:gd name="T146" fmla="*/ 867 w 867"/>
                    <a:gd name="T147" fmla="*/ 732 h 732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867" h="732">
                      <a:moveTo>
                        <a:pt x="0" y="193"/>
                      </a:moveTo>
                      <a:lnTo>
                        <a:pt x="17" y="170"/>
                      </a:lnTo>
                      <a:lnTo>
                        <a:pt x="80" y="159"/>
                      </a:lnTo>
                      <a:lnTo>
                        <a:pt x="154" y="119"/>
                      </a:lnTo>
                      <a:lnTo>
                        <a:pt x="148" y="91"/>
                      </a:lnTo>
                      <a:lnTo>
                        <a:pt x="205" y="12"/>
                      </a:lnTo>
                      <a:lnTo>
                        <a:pt x="228" y="34"/>
                      </a:lnTo>
                      <a:lnTo>
                        <a:pt x="279" y="0"/>
                      </a:lnTo>
                      <a:lnTo>
                        <a:pt x="296" y="34"/>
                      </a:lnTo>
                      <a:lnTo>
                        <a:pt x="319" y="108"/>
                      </a:lnTo>
                      <a:lnTo>
                        <a:pt x="393" y="165"/>
                      </a:lnTo>
                      <a:lnTo>
                        <a:pt x="382" y="187"/>
                      </a:lnTo>
                      <a:lnTo>
                        <a:pt x="410" y="233"/>
                      </a:lnTo>
                      <a:lnTo>
                        <a:pt x="422" y="290"/>
                      </a:lnTo>
                      <a:lnTo>
                        <a:pt x="456" y="301"/>
                      </a:lnTo>
                      <a:lnTo>
                        <a:pt x="530" y="409"/>
                      </a:lnTo>
                      <a:lnTo>
                        <a:pt x="587" y="403"/>
                      </a:lnTo>
                      <a:lnTo>
                        <a:pt x="713" y="448"/>
                      </a:lnTo>
                      <a:lnTo>
                        <a:pt x="719" y="511"/>
                      </a:lnTo>
                      <a:lnTo>
                        <a:pt x="759" y="505"/>
                      </a:lnTo>
                      <a:lnTo>
                        <a:pt x="798" y="550"/>
                      </a:lnTo>
                      <a:lnTo>
                        <a:pt x="838" y="533"/>
                      </a:lnTo>
                      <a:lnTo>
                        <a:pt x="867" y="596"/>
                      </a:lnTo>
                      <a:lnTo>
                        <a:pt x="833" y="596"/>
                      </a:lnTo>
                      <a:lnTo>
                        <a:pt x="816" y="647"/>
                      </a:lnTo>
                      <a:lnTo>
                        <a:pt x="713" y="704"/>
                      </a:lnTo>
                      <a:lnTo>
                        <a:pt x="690" y="635"/>
                      </a:lnTo>
                      <a:lnTo>
                        <a:pt x="650" y="641"/>
                      </a:lnTo>
                      <a:lnTo>
                        <a:pt x="633" y="670"/>
                      </a:lnTo>
                      <a:lnTo>
                        <a:pt x="525" y="698"/>
                      </a:lnTo>
                      <a:lnTo>
                        <a:pt x="479" y="732"/>
                      </a:lnTo>
                      <a:lnTo>
                        <a:pt x="450" y="726"/>
                      </a:lnTo>
                      <a:lnTo>
                        <a:pt x="428" y="670"/>
                      </a:lnTo>
                      <a:lnTo>
                        <a:pt x="405" y="670"/>
                      </a:lnTo>
                      <a:lnTo>
                        <a:pt x="382" y="624"/>
                      </a:lnTo>
                      <a:lnTo>
                        <a:pt x="348" y="618"/>
                      </a:lnTo>
                      <a:lnTo>
                        <a:pt x="296" y="567"/>
                      </a:lnTo>
                      <a:lnTo>
                        <a:pt x="256" y="567"/>
                      </a:lnTo>
                      <a:lnTo>
                        <a:pt x="194" y="528"/>
                      </a:lnTo>
                      <a:lnTo>
                        <a:pt x="159" y="533"/>
                      </a:lnTo>
                      <a:lnTo>
                        <a:pt x="131" y="499"/>
                      </a:lnTo>
                      <a:lnTo>
                        <a:pt x="142" y="443"/>
                      </a:lnTo>
                      <a:lnTo>
                        <a:pt x="182" y="392"/>
                      </a:lnTo>
                      <a:lnTo>
                        <a:pt x="142" y="341"/>
                      </a:lnTo>
                      <a:lnTo>
                        <a:pt x="154" y="312"/>
                      </a:lnTo>
                      <a:lnTo>
                        <a:pt x="131" y="278"/>
                      </a:lnTo>
                      <a:lnTo>
                        <a:pt x="34" y="278"/>
                      </a:lnTo>
                      <a:lnTo>
                        <a:pt x="0" y="193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9" name="Freeform 84"/>
                <p:cNvSpPr>
                  <a:spLocks/>
                </p:cNvSpPr>
                <p:nvPr/>
              </p:nvSpPr>
              <p:spPr bwMode="auto">
                <a:xfrm>
                  <a:off x="387" y="2823"/>
                  <a:ext cx="776" cy="727"/>
                </a:xfrm>
                <a:custGeom>
                  <a:avLst/>
                  <a:gdLst/>
                  <a:ahLst/>
                  <a:cxnLst>
                    <a:cxn ang="0">
                      <a:pos x="148" y="0"/>
                    </a:cxn>
                    <a:cxn ang="0">
                      <a:pos x="177" y="56"/>
                    </a:cxn>
                    <a:cxn ang="0">
                      <a:pos x="211" y="68"/>
                    </a:cxn>
                    <a:cxn ang="0">
                      <a:pos x="296" y="45"/>
                    </a:cxn>
                    <a:cxn ang="0">
                      <a:pos x="331" y="73"/>
                    </a:cxn>
                    <a:cxn ang="0">
                      <a:pos x="365" y="79"/>
                    </a:cxn>
                    <a:cxn ang="0">
                      <a:pos x="399" y="164"/>
                    </a:cxn>
                    <a:cxn ang="0">
                      <a:pos x="496" y="158"/>
                    </a:cxn>
                    <a:cxn ang="0">
                      <a:pos x="525" y="193"/>
                    </a:cxn>
                    <a:cxn ang="0">
                      <a:pos x="513" y="227"/>
                    </a:cxn>
                    <a:cxn ang="0">
                      <a:pos x="548" y="272"/>
                    </a:cxn>
                    <a:cxn ang="0">
                      <a:pos x="513" y="323"/>
                    </a:cxn>
                    <a:cxn ang="0">
                      <a:pos x="502" y="385"/>
                    </a:cxn>
                    <a:cxn ang="0">
                      <a:pos x="530" y="419"/>
                    </a:cxn>
                    <a:cxn ang="0">
                      <a:pos x="565" y="408"/>
                    </a:cxn>
                    <a:cxn ang="0">
                      <a:pos x="633" y="453"/>
                    </a:cxn>
                    <a:cxn ang="0">
                      <a:pos x="667" y="448"/>
                    </a:cxn>
                    <a:cxn ang="0">
                      <a:pos x="713" y="504"/>
                    </a:cxn>
                    <a:cxn ang="0">
                      <a:pos x="759" y="510"/>
                    </a:cxn>
                    <a:cxn ang="0">
                      <a:pos x="776" y="550"/>
                    </a:cxn>
                    <a:cxn ang="0">
                      <a:pos x="742" y="584"/>
                    </a:cxn>
                    <a:cxn ang="0">
                      <a:pos x="753" y="618"/>
                    </a:cxn>
                    <a:cxn ang="0">
                      <a:pos x="702" y="652"/>
                    </a:cxn>
                    <a:cxn ang="0">
                      <a:pos x="673" y="692"/>
                    </a:cxn>
                    <a:cxn ang="0">
                      <a:pos x="616" y="663"/>
                    </a:cxn>
                    <a:cxn ang="0">
                      <a:pos x="559" y="680"/>
                    </a:cxn>
                    <a:cxn ang="0">
                      <a:pos x="508" y="663"/>
                    </a:cxn>
                    <a:cxn ang="0">
                      <a:pos x="485" y="680"/>
                    </a:cxn>
                    <a:cxn ang="0">
                      <a:pos x="439" y="675"/>
                    </a:cxn>
                    <a:cxn ang="0">
                      <a:pos x="393" y="720"/>
                    </a:cxn>
                    <a:cxn ang="0">
                      <a:pos x="279" y="703"/>
                    </a:cxn>
                    <a:cxn ang="0">
                      <a:pos x="245" y="680"/>
                    </a:cxn>
                    <a:cxn ang="0">
                      <a:pos x="251" y="595"/>
                    </a:cxn>
                    <a:cxn ang="0">
                      <a:pos x="165" y="556"/>
                    </a:cxn>
                    <a:cxn ang="0">
                      <a:pos x="114" y="510"/>
                    </a:cxn>
                    <a:cxn ang="0">
                      <a:pos x="125" y="431"/>
                    </a:cxn>
                    <a:cxn ang="0">
                      <a:pos x="171" y="351"/>
                    </a:cxn>
                    <a:cxn ang="0">
                      <a:pos x="62" y="351"/>
                    </a:cxn>
                    <a:cxn ang="0">
                      <a:pos x="17" y="278"/>
                    </a:cxn>
                    <a:cxn ang="0">
                      <a:pos x="17" y="255"/>
                    </a:cxn>
                    <a:cxn ang="0">
                      <a:pos x="40" y="249"/>
                    </a:cxn>
                    <a:cxn ang="0">
                      <a:pos x="34" y="227"/>
                    </a:cxn>
                    <a:cxn ang="0">
                      <a:pos x="0" y="227"/>
                    </a:cxn>
                    <a:cxn ang="0">
                      <a:pos x="34" y="176"/>
                    </a:cxn>
                    <a:cxn ang="0">
                      <a:pos x="62" y="187"/>
                    </a:cxn>
                    <a:cxn ang="0">
                      <a:pos x="57" y="158"/>
                    </a:cxn>
                    <a:cxn ang="0">
                      <a:pos x="74" y="141"/>
                    </a:cxn>
                    <a:cxn ang="0">
                      <a:pos x="62" y="102"/>
                    </a:cxn>
                    <a:cxn ang="0">
                      <a:pos x="80" y="102"/>
                    </a:cxn>
                    <a:cxn ang="0">
                      <a:pos x="91" y="124"/>
                    </a:cxn>
                    <a:cxn ang="0">
                      <a:pos x="108" y="119"/>
                    </a:cxn>
                    <a:cxn ang="0">
                      <a:pos x="108" y="85"/>
                    </a:cxn>
                    <a:cxn ang="0">
                      <a:pos x="125" y="79"/>
                    </a:cxn>
                    <a:cxn ang="0">
                      <a:pos x="125" y="5"/>
                    </a:cxn>
                    <a:cxn ang="0">
                      <a:pos x="148" y="0"/>
                    </a:cxn>
                  </a:cxnLst>
                  <a:rect l="0" t="0" r="r" b="b"/>
                  <a:pathLst>
                    <a:path w="776" h="720">
                      <a:moveTo>
                        <a:pt x="148" y="0"/>
                      </a:moveTo>
                      <a:lnTo>
                        <a:pt x="177" y="56"/>
                      </a:lnTo>
                      <a:lnTo>
                        <a:pt x="211" y="68"/>
                      </a:lnTo>
                      <a:lnTo>
                        <a:pt x="296" y="45"/>
                      </a:lnTo>
                      <a:lnTo>
                        <a:pt x="331" y="73"/>
                      </a:lnTo>
                      <a:lnTo>
                        <a:pt x="365" y="79"/>
                      </a:lnTo>
                      <a:lnTo>
                        <a:pt x="399" y="164"/>
                      </a:lnTo>
                      <a:lnTo>
                        <a:pt x="496" y="158"/>
                      </a:lnTo>
                      <a:lnTo>
                        <a:pt x="525" y="193"/>
                      </a:lnTo>
                      <a:lnTo>
                        <a:pt x="513" y="227"/>
                      </a:lnTo>
                      <a:lnTo>
                        <a:pt x="548" y="272"/>
                      </a:lnTo>
                      <a:lnTo>
                        <a:pt x="513" y="323"/>
                      </a:lnTo>
                      <a:lnTo>
                        <a:pt x="502" y="385"/>
                      </a:lnTo>
                      <a:lnTo>
                        <a:pt x="530" y="419"/>
                      </a:lnTo>
                      <a:lnTo>
                        <a:pt x="565" y="408"/>
                      </a:lnTo>
                      <a:lnTo>
                        <a:pt x="633" y="453"/>
                      </a:lnTo>
                      <a:lnTo>
                        <a:pt x="667" y="448"/>
                      </a:lnTo>
                      <a:lnTo>
                        <a:pt x="713" y="504"/>
                      </a:lnTo>
                      <a:lnTo>
                        <a:pt x="759" y="510"/>
                      </a:lnTo>
                      <a:lnTo>
                        <a:pt x="776" y="550"/>
                      </a:lnTo>
                      <a:lnTo>
                        <a:pt x="742" y="584"/>
                      </a:lnTo>
                      <a:lnTo>
                        <a:pt x="753" y="618"/>
                      </a:lnTo>
                      <a:lnTo>
                        <a:pt x="702" y="652"/>
                      </a:lnTo>
                      <a:lnTo>
                        <a:pt x="673" y="692"/>
                      </a:lnTo>
                      <a:lnTo>
                        <a:pt x="616" y="663"/>
                      </a:lnTo>
                      <a:lnTo>
                        <a:pt x="559" y="680"/>
                      </a:lnTo>
                      <a:lnTo>
                        <a:pt x="508" y="663"/>
                      </a:lnTo>
                      <a:lnTo>
                        <a:pt x="485" y="680"/>
                      </a:lnTo>
                      <a:lnTo>
                        <a:pt x="439" y="675"/>
                      </a:lnTo>
                      <a:lnTo>
                        <a:pt x="393" y="720"/>
                      </a:lnTo>
                      <a:lnTo>
                        <a:pt x="279" y="703"/>
                      </a:lnTo>
                      <a:lnTo>
                        <a:pt x="245" y="680"/>
                      </a:lnTo>
                      <a:lnTo>
                        <a:pt x="251" y="595"/>
                      </a:lnTo>
                      <a:lnTo>
                        <a:pt x="165" y="556"/>
                      </a:lnTo>
                      <a:lnTo>
                        <a:pt x="114" y="510"/>
                      </a:lnTo>
                      <a:lnTo>
                        <a:pt x="125" y="431"/>
                      </a:lnTo>
                      <a:lnTo>
                        <a:pt x="171" y="351"/>
                      </a:lnTo>
                      <a:lnTo>
                        <a:pt x="62" y="351"/>
                      </a:lnTo>
                      <a:lnTo>
                        <a:pt x="17" y="278"/>
                      </a:lnTo>
                      <a:lnTo>
                        <a:pt x="17" y="255"/>
                      </a:lnTo>
                      <a:lnTo>
                        <a:pt x="40" y="249"/>
                      </a:lnTo>
                      <a:lnTo>
                        <a:pt x="34" y="227"/>
                      </a:lnTo>
                      <a:lnTo>
                        <a:pt x="0" y="227"/>
                      </a:lnTo>
                      <a:lnTo>
                        <a:pt x="34" y="176"/>
                      </a:lnTo>
                      <a:lnTo>
                        <a:pt x="62" y="187"/>
                      </a:lnTo>
                      <a:lnTo>
                        <a:pt x="57" y="158"/>
                      </a:lnTo>
                      <a:lnTo>
                        <a:pt x="74" y="141"/>
                      </a:lnTo>
                      <a:lnTo>
                        <a:pt x="62" y="102"/>
                      </a:lnTo>
                      <a:lnTo>
                        <a:pt x="80" y="102"/>
                      </a:lnTo>
                      <a:lnTo>
                        <a:pt x="91" y="124"/>
                      </a:lnTo>
                      <a:lnTo>
                        <a:pt x="108" y="119"/>
                      </a:lnTo>
                      <a:lnTo>
                        <a:pt x="108" y="85"/>
                      </a:lnTo>
                      <a:lnTo>
                        <a:pt x="125" y="79"/>
                      </a:lnTo>
                      <a:lnTo>
                        <a:pt x="125" y="5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0" name="Freeform 86"/>
                <p:cNvSpPr>
                  <a:spLocks/>
                </p:cNvSpPr>
                <p:nvPr/>
              </p:nvSpPr>
              <p:spPr bwMode="auto">
                <a:xfrm>
                  <a:off x="2383" y="3561"/>
                  <a:ext cx="686" cy="442"/>
                </a:xfrm>
                <a:custGeom>
                  <a:avLst/>
                  <a:gdLst/>
                  <a:ahLst/>
                  <a:cxnLst>
                    <a:cxn ang="0">
                      <a:pos x="35" y="312"/>
                    </a:cxn>
                    <a:cxn ang="0">
                      <a:pos x="0" y="204"/>
                    </a:cxn>
                    <a:cxn ang="0">
                      <a:pos x="29" y="187"/>
                    </a:cxn>
                    <a:cxn ang="0">
                      <a:pos x="35" y="147"/>
                    </a:cxn>
                    <a:cxn ang="0">
                      <a:pos x="63" y="153"/>
                    </a:cxn>
                    <a:cxn ang="0">
                      <a:pos x="86" y="130"/>
                    </a:cxn>
                    <a:cxn ang="0">
                      <a:pos x="92" y="79"/>
                    </a:cxn>
                    <a:cxn ang="0">
                      <a:pos x="137" y="34"/>
                    </a:cxn>
                    <a:cxn ang="0">
                      <a:pos x="183" y="17"/>
                    </a:cxn>
                    <a:cxn ang="0">
                      <a:pos x="223" y="28"/>
                    </a:cxn>
                    <a:cxn ang="0">
                      <a:pos x="257" y="79"/>
                    </a:cxn>
                    <a:cxn ang="0">
                      <a:pos x="291" y="79"/>
                    </a:cxn>
                    <a:cxn ang="0">
                      <a:pos x="291" y="28"/>
                    </a:cxn>
                    <a:cxn ang="0">
                      <a:pos x="383" y="39"/>
                    </a:cxn>
                    <a:cxn ang="0">
                      <a:pos x="463" y="0"/>
                    </a:cxn>
                    <a:cxn ang="0">
                      <a:pos x="491" y="28"/>
                    </a:cxn>
                    <a:cxn ang="0">
                      <a:pos x="525" y="0"/>
                    </a:cxn>
                    <a:cxn ang="0">
                      <a:pos x="577" y="17"/>
                    </a:cxn>
                    <a:cxn ang="0">
                      <a:pos x="617" y="0"/>
                    </a:cxn>
                    <a:cxn ang="0">
                      <a:pos x="668" y="11"/>
                    </a:cxn>
                    <a:cxn ang="0">
                      <a:pos x="668" y="62"/>
                    </a:cxn>
                    <a:cxn ang="0">
                      <a:pos x="685" y="79"/>
                    </a:cxn>
                    <a:cxn ang="0">
                      <a:pos x="657" y="102"/>
                    </a:cxn>
                    <a:cxn ang="0">
                      <a:pos x="634" y="85"/>
                    </a:cxn>
                    <a:cxn ang="0">
                      <a:pos x="617" y="107"/>
                    </a:cxn>
                    <a:cxn ang="0">
                      <a:pos x="582" y="102"/>
                    </a:cxn>
                    <a:cxn ang="0">
                      <a:pos x="577" y="119"/>
                    </a:cxn>
                    <a:cxn ang="0">
                      <a:pos x="605" y="147"/>
                    </a:cxn>
                    <a:cxn ang="0">
                      <a:pos x="588" y="175"/>
                    </a:cxn>
                    <a:cxn ang="0">
                      <a:pos x="560" y="193"/>
                    </a:cxn>
                    <a:cxn ang="0">
                      <a:pos x="560" y="227"/>
                    </a:cxn>
                    <a:cxn ang="0">
                      <a:pos x="582" y="244"/>
                    </a:cxn>
                    <a:cxn ang="0">
                      <a:pos x="582" y="278"/>
                    </a:cxn>
                    <a:cxn ang="0">
                      <a:pos x="537" y="283"/>
                    </a:cxn>
                    <a:cxn ang="0">
                      <a:pos x="525" y="323"/>
                    </a:cxn>
                    <a:cxn ang="0">
                      <a:pos x="497" y="340"/>
                    </a:cxn>
                    <a:cxn ang="0">
                      <a:pos x="480" y="397"/>
                    </a:cxn>
                    <a:cxn ang="0">
                      <a:pos x="423" y="357"/>
                    </a:cxn>
                    <a:cxn ang="0">
                      <a:pos x="394" y="374"/>
                    </a:cxn>
                    <a:cxn ang="0">
                      <a:pos x="365" y="357"/>
                    </a:cxn>
                    <a:cxn ang="0">
                      <a:pos x="314" y="380"/>
                    </a:cxn>
                    <a:cxn ang="0">
                      <a:pos x="263" y="374"/>
                    </a:cxn>
                    <a:cxn ang="0">
                      <a:pos x="206" y="425"/>
                    </a:cxn>
                    <a:cxn ang="0">
                      <a:pos x="166" y="436"/>
                    </a:cxn>
                    <a:cxn ang="0">
                      <a:pos x="171" y="408"/>
                    </a:cxn>
                    <a:cxn ang="0">
                      <a:pos x="120" y="397"/>
                    </a:cxn>
                    <a:cxn ang="0">
                      <a:pos x="120" y="363"/>
                    </a:cxn>
                    <a:cxn ang="0">
                      <a:pos x="80" y="363"/>
                    </a:cxn>
                    <a:cxn ang="0">
                      <a:pos x="46" y="340"/>
                    </a:cxn>
                    <a:cxn ang="0">
                      <a:pos x="35" y="312"/>
                    </a:cxn>
                  </a:cxnLst>
                  <a:rect l="0" t="0" r="r" b="b"/>
                  <a:pathLst>
                    <a:path w="685" h="436">
                      <a:moveTo>
                        <a:pt x="35" y="312"/>
                      </a:moveTo>
                      <a:lnTo>
                        <a:pt x="0" y="204"/>
                      </a:lnTo>
                      <a:lnTo>
                        <a:pt x="29" y="187"/>
                      </a:lnTo>
                      <a:lnTo>
                        <a:pt x="35" y="147"/>
                      </a:lnTo>
                      <a:lnTo>
                        <a:pt x="63" y="153"/>
                      </a:lnTo>
                      <a:lnTo>
                        <a:pt x="86" y="130"/>
                      </a:lnTo>
                      <a:lnTo>
                        <a:pt x="92" y="79"/>
                      </a:lnTo>
                      <a:lnTo>
                        <a:pt x="137" y="34"/>
                      </a:lnTo>
                      <a:lnTo>
                        <a:pt x="183" y="17"/>
                      </a:lnTo>
                      <a:lnTo>
                        <a:pt x="223" y="28"/>
                      </a:lnTo>
                      <a:lnTo>
                        <a:pt x="257" y="79"/>
                      </a:lnTo>
                      <a:lnTo>
                        <a:pt x="291" y="79"/>
                      </a:lnTo>
                      <a:lnTo>
                        <a:pt x="291" y="28"/>
                      </a:lnTo>
                      <a:lnTo>
                        <a:pt x="383" y="39"/>
                      </a:lnTo>
                      <a:lnTo>
                        <a:pt x="463" y="0"/>
                      </a:lnTo>
                      <a:lnTo>
                        <a:pt x="491" y="28"/>
                      </a:lnTo>
                      <a:lnTo>
                        <a:pt x="525" y="0"/>
                      </a:lnTo>
                      <a:lnTo>
                        <a:pt x="577" y="17"/>
                      </a:lnTo>
                      <a:lnTo>
                        <a:pt x="617" y="0"/>
                      </a:lnTo>
                      <a:lnTo>
                        <a:pt x="668" y="11"/>
                      </a:lnTo>
                      <a:lnTo>
                        <a:pt x="668" y="62"/>
                      </a:lnTo>
                      <a:lnTo>
                        <a:pt x="685" y="79"/>
                      </a:lnTo>
                      <a:lnTo>
                        <a:pt x="657" y="102"/>
                      </a:lnTo>
                      <a:lnTo>
                        <a:pt x="634" y="85"/>
                      </a:lnTo>
                      <a:lnTo>
                        <a:pt x="617" y="107"/>
                      </a:lnTo>
                      <a:lnTo>
                        <a:pt x="582" y="102"/>
                      </a:lnTo>
                      <a:lnTo>
                        <a:pt x="577" y="119"/>
                      </a:lnTo>
                      <a:lnTo>
                        <a:pt x="605" y="147"/>
                      </a:lnTo>
                      <a:lnTo>
                        <a:pt x="588" y="175"/>
                      </a:lnTo>
                      <a:lnTo>
                        <a:pt x="560" y="193"/>
                      </a:lnTo>
                      <a:lnTo>
                        <a:pt x="560" y="227"/>
                      </a:lnTo>
                      <a:lnTo>
                        <a:pt x="582" y="244"/>
                      </a:lnTo>
                      <a:lnTo>
                        <a:pt x="582" y="278"/>
                      </a:lnTo>
                      <a:lnTo>
                        <a:pt x="537" y="283"/>
                      </a:lnTo>
                      <a:lnTo>
                        <a:pt x="525" y="323"/>
                      </a:lnTo>
                      <a:lnTo>
                        <a:pt x="497" y="340"/>
                      </a:lnTo>
                      <a:lnTo>
                        <a:pt x="480" y="397"/>
                      </a:lnTo>
                      <a:lnTo>
                        <a:pt x="423" y="357"/>
                      </a:lnTo>
                      <a:lnTo>
                        <a:pt x="394" y="374"/>
                      </a:lnTo>
                      <a:lnTo>
                        <a:pt x="365" y="357"/>
                      </a:lnTo>
                      <a:lnTo>
                        <a:pt x="314" y="380"/>
                      </a:lnTo>
                      <a:lnTo>
                        <a:pt x="263" y="374"/>
                      </a:lnTo>
                      <a:lnTo>
                        <a:pt x="206" y="425"/>
                      </a:lnTo>
                      <a:lnTo>
                        <a:pt x="166" y="436"/>
                      </a:lnTo>
                      <a:lnTo>
                        <a:pt x="171" y="408"/>
                      </a:lnTo>
                      <a:lnTo>
                        <a:pt x="120" y="397"/>
                      </a:lnTo>
                      <a:lnTo>
                        <a:pt x="120" y="363"/>
                      </a:lnTo>
                      <a:lnTo>
                        <a:pt x="80" y="363"/>
                      </a:lnTo>
                      <a:lnTo>
                        <a:pt x="46" y="340"/>
                      </a:lnTo>
                      <a:lnTo>
                        <a:pt x="35" y="312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1" name="Freeform 89"/>
                <p:cNvSpPr>
                  <a:spLocks/>
                </p:cNvSpPr>
                <p:nvPr/>
              </p:nvSpPr>
              <p:spPr bwMode="auto">
                <a:xfrm>
                  <a:off x="1669" y="3350"/>
                  <a:ext cx="496" cy="681"/>
                </a:xfrm>
                <a:custGeom>
                  <a:avLst/>
                  <a:gdLst>
                    <a:gd name="T0" fmla="*/ 5 w 496"/>
                    <a:gd name="T1" fmla="*/ 97 h 681"/>
                    <a:gd name="T2" fmla="*/ 34 w 496"/>
                    <a:gd name="T3" fmla="*/ 102 h 681"/>
                    <a:gd name="T4" fmla="*/ 91 w 496"/>
                    <a:gd name="T5" fmla="*/ 63 h 681"/>
                    <a:gd name="T6" fmla="*/ 131 w 496"/>
                    <a:gd name="T7" fmla="*/ 51 h 681"/>
                    <a:gd name="T8" fmla="*/ 165 w 496"/>
                    <a:gd name="T9" fmla="*/ 63 h 681"/>
                    <a:gd name="T10" fmla="*/ 222 w 496"/>
                    <a:gd name="T11" fmla="*/ 0 h 681"/>
                    <a:gd name="T12" fmla="*/ 251 w 496"/>
                    <a:gd name="T13" fmla="*/ 40 h 681"/>
                    <a:gd name="T14" fmla="*/ 291 w 496"/>
                    <a:gd name="T15" fmla="*/ 34 h 681"/>
                    <a:gd name="T16" fmla="*/ 319 w 496"/>
                    <a:gd name="T17" fmla="*/ 0 h 681"/>
                    <a:gd name="T18" fmla="*/ 336 w 496"/>
                    <a:gd name="T19" fmla="*/ 11 h 681"/>
                    <a:gd name="T20" fmla="*/ 336 w 496"/>
                    <a:gd name="T21" fmla="*/ 40 h 681"/>
                    <a:gd name="T22" fmla="*/ 410 w 496"/>
                    <a:gd name="T23" fmla="*/ 119 h 681"/>
                    <a:gd name="T24" fmla="*/ 388 w 496"/>
                    <a:gd name="T25" fmla="*/ 153 h 681"/>
                    <a:gd name="T26" fmla="*/ 428 w 496"/>
                    <a:gd name="T27" fmla="*/ 210 h 681"/>
                    <a:gd name="T28" fmla="*/ 422 w 496"/>
                    <a:gd name="T29" fmla="*/ 238 h 681"/>
                    <a:gd name="T30" fmla="*/ 445 w 496"/>
                    <a:gd name="T31" fmla="*/ 272 h 681"/>
                    <a:gd name="T32" fmla="*/ 439 w 496"/>
                    <a:gd name="T33" fmla="*/ 374 h 681"/>
                    <a:gd name="T34" fmla="*/ 496 w 496"/>
                    <a:gd name="T35" fmla="*/ 403 h 681"/>
                    <a:gd name="T36" fmla="*/ 479 w 496"/>
                    <a:gd name="T37" fmla="*/ 437 h 681"/>
                    <a:gd name="T38" fmla="*/ 496 w 496"/>
                    <a:gd name="T39" fmla="*/ 488 h 681"/>
                    <a:gd name="T40" fmla="*/ 468 w 496"/>
                    <a:gd name="T41" fmla="*/ 494 h 681"/>
                    <a:gd name="T42" fmla="*/ 456 w 496"/>
                    <a:gd name="T43" fmla="*/ 533 h 681"/>
                    <a:gd name="T44" fmla="*/ 428 w 496"/>
                    <a:gd name="T45" fmla="*/ 545 h 681"/>
                    <a:gd name="T46" fmla="*/ 428 w 496"/>
                    <a:gd name="T47" fmla="*/ 607 h 681"/>
                    <a:gd name="T48" fmla="*/ 416 w 496"/>
                    <a:gd name="T49" fmla="*/ 618 h 681"/>
                    <a:gd name="T50" fmla="*/ 342 w 496"/>
                    <a:gd name="T51" fmla="*/ 596 h 681"/>
                    <a:gd name="T52" fmla="*/ 342 w 496"/>
                    <a:gd name="T53" fmla="*/ 647 h 681"/>
                    <a:gd name="T54" fmla="*/ 331 w 496"/>
                    <a:gd name="T55" fmla="*/ 681 h 681"/>
                    <a:gd name="T56" fmla="*/ 205 w 496"/>
                    <a:gd name="T57" fmla="*/ 607 h 681"/>
                    <a:gd name="T58" fmla="*/ 154 w 496"/>
                    <a:gd name="T59" fmla="*/ 635 h 681"/>
                    <a:gd name="T60" fmla="*/ 148 w 496"/>
                    <a:gd name="T61" fmla="*/ 601 h 681"/>
                    <a:gd name="T62" fmla="*/ 125 w 496"/>
                    <a:gd name="T63" fmla="*/ 579 h 681"/>
                    <a:gd name="T64" fmla="*/ 125 w 496"/>
                    <a:gd name="T65" fmla="*/ 545 h 681"/>
                    <a:gd name="T66" fmla="*/ 108 w 496"/>
                    <a:gd name="T67" fmla="*/ 511 h 681"/>
                    <a:gd name="T68" fmla="*/ 45 w 496"/>
                    <a:gd name="T69" fmla="*/ 516 h 681"/>
                    <a:gd name="T70" fmla="*/ 22 w 496"/>
                    <a:gd name="T71" fmla="*/ 477 h 681"/>
                    <a:gd name="T72" fmla="*/ 34 w 496"/>
                    <a:gd name="T73" fmla="*/ 403 h 681"/>
                    <a:gd name="T74" fmla="*/ 5 w 496"/>
                    <a:gd name="T75" fmla="*/ 397 h 681"/>
                    <a:gd name="T76" fmla="*/ 0 w 496"/>
                    <a:gd name="T77" fmla="*/ 374 h 681"/>
                    <a:gd name="T78" fmla="*/ 34 w 496"/>
                    <a:gd name="T79" fmla="*/ 340 h 681"/>
                    <a:gd name="T80" fmla="*/ 11 w 496"/>
                    <a:gd name="T81" fmla="*/ 295 h 681"/>
                    <a:gd name="T82" fmla="*/ 62 w 496"/>
                    <a:gd name="T83" fmla="*/ 221 h 681"/>
                    <a:gd name="T84" fmla="*/ 57 w 496"/>
                    <a:gd name="T85" fmla="*/ 187 h 681"/>
                    <a:gd name="T86" fmla="*/ 11 w 496"/>
                    <a:gd name="T87" fmla="*/ 182 h 681"/>
                    <a:gd name="T88" fmla="*/ 0 w 496"/>
                    <a:gd name="T89" fmla="*/ 136 h 681"/>
                    <a:gd name="T90" fmla="*/ 5 w 496"/>
                    <a:gd name="T91" fmla="*/ 97 h 68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96"/>
                    <a:gd name="T139" fmla="*/ 0 h 681"/>
                    <a:gd name="T140" fmla="*/ 496 w 496"/>
                    <a:gd name="T141" fmla="*/ 681 h 68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96" h="681">
                      <a:moveTo>
                        <a:pt x="5" y="97"/>
                      </a:moveTo>
                      <a:lnTo>
                        <a:pt x="34" y="102"/>
                      </a:lnTo>
                      <a:lnTo>
                        <a:pt x="91" y="63"/>
                      </a:lnTo>
                      <a:lnTo>
                        <a:pt x="131" y="51"/>
                      </a:lnTo>
                      <a:lnTo>
                        <a:pt x="165" y="63"/>
                      </a:lnTo>
                      <a:lnTo>
                        <a:pt x="222" y="0"/>
                      </a:lnTo>
                      <a:lnTo>
                        <a:pt x="251" y="40"/>
                      </a:lnTo>
                      <a:lnTo>
                        <a:pt x="291" y="34"/>
                      </a:lnTo>
                      <a:lnTo>
                        <a:pt x="319" y="0"/>
                      </a:lnTo>
                      <a:lnTo>
                        <a:pt x="336" y="11"/>
                      </a:lnTo>
                      <a:lnTo>
                        <a:pt x="336" y="40"/>
                      </a:lnTo>
                      <a:lnTo>
                        <a:pt x="410" y="119"/>
                      </a:lnTo>
                      <a:lnTo>
                        <a:pt x="388" y="153"/>
                      </a:lnTo>
                      <a:lnTo>
                        <a:pt x="428" y="210"/>
                      </a:lnTo>
                      <a:lnTo>
                        <a:pt x="422" y="238"/>
                      </a:lnTo>
                      <a:lnTo>
                        <a:pt x="445" y="272"/>
                      </a:lnTo>
                      <a:lnTo>
                        <a:pt x="439" y="374"/>
                      </a:lnTo>
                      <a:lnTo>
                        <a:pt x="496" y="403"/>
                      </a:lnTo>
                      <a:lnTo>
                        <a:pt x="479" y="437"/>
                      </a:lnTo>
                      <a:lnTo>
                        <a:pt x="496" y="488"/>
                      </a:lnTo>
                      <a:lnTo>
                        <a:pt x="468" y="494"/>
                      </a:lnTo>
                      <a:lnTo>
                        <a:pt x="456" y="533"/>
                      </a:lnTo>
                      <a:lnTo>
                        <a:pt x="428" y="545"/>
                      </a:lnTo>
                      <a:lnTo>
                        <a:pt x="428" y="607"/>
                      </a:lnTo>
                      <a:lnTo>
                        <a:pt x="416" y="618"/>
                      </a:lnTo>
                      <a:lnTo>
                        <a:pt x="342" y="596"/>
                      </a:lnTo>
                      <a:lnTo>
                        <a:pt x="342" y="647"/>
                      </a:lnTo>
                      <a:lnTo>
                        <a:pt x="331" y="681"/>
                      </a:lnTo>
                      <a:lnTo>
                        <a:pt x="205" y="607"/>
                      </a:lnTo>
                      <a:lnTo>
                        <a:pt x="154" y="635"/>
                      </a:lnTo>
                      <a:lnTo>
                        <a:pt x="148" y="601"/>
                      </a:lnTo>
                      <a:lnTo>
                        <a:pt x="125" y="579"/>
                      </a:lnTo>
                      <a:lnTo>
                        <a:pt x="125" y="545"/>
                      </a:lnTo>
                      <a:lnTo>
                        <a:pt x="108" y="511"/>
                      </a:lnTo>
                      <a:lnTo>
                        <a:pt x="45" y="516"/>
                      </a:lnTo>
                      <a:lnTo>
                        <a:pt x="22" y="477"/>
                      </a:lnTo>
                      <a:lnTo>
                        <a:pt x="34" y="403"/>
                      </a:lnTo>
                      <a:lnTo>
                        <a:pt x="5" y="397"/>
                      </a:lnTo>
                      <a:lnTo>
                        <a:pt x="0" y="374"/>
                      </a:lnTo>
                      <a:lnTo>
                        <a:pt x="34" y="340"/>
                      </a:lnTo>
                      <a:lnTo>
                        <a:pt x="11" y="295"/>
                      </a:lnTo>
                      <a:lnTo>
                        <a:pt x="62" y="221"/>
                      </a:lnTo>
                      <a:lnTo>
                        <a:pt x="57" y="187"/>
                      </a:lnTo>
                      <a:lnTo>
                        <a:pt x="11" y="182"/>
                      </a:lnTo>
                      <a:lnTo>
                        <a:pt x="0" y="136"/>
                      </a:lnTo>
                      <a:lnTo>
                        <a:pt x="5" y="97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2" name="Freeform 90"/>
                <p:cNvSpPr>
                  <a:spLocks/>
                </p:cNvSpPr>
                <p:nvPr/>
              </p:nvSpPr>
              <p:spPr bwMode="auto">
                <a:xfrm>
                  <a:off x="1209" y="3307"/>
                  <a:ext cx="573" cy="635"/>
                </a:xfrm>
                <a:custGeom>
                  <a:avLst/>
                  <a:gdLst/>
                  <a:ahLst/>
                  <a:cxnLst>
                    <a:cxn ang="0">
                      <a:pos x="69" y="102"/>
                    </a:cxn>
                    <a:cxn ang="0">
                      <a:pos x="183" y="74"/>
                    </a:cxn>
                    <a:cxn ang="0">
                      <a:pos x="189" y="45"/>
                    </a:cxn>
                    <a:cxn ang="0">
                      <a:pos x="234" y="39"/>
                    </a:cxn>
                    <a:cxn ang="0">
                      <a:pos x="263" y="108"/>
                    </a:cxn>
                    <a:cxn ang="0">
                      <a:pos x="360" y="51"/>
                    </a:cxn>
                    <a:cxn ang="0">
                      <a:pos x="377" y="0"/>
                    </a:cxn>
                    <a:cxn ang="0">
                      <a:pos x="417" y="0"/>
                    </a:cxn>
                    <a:cxn ang="0">
                      <a:pos x="440" y="34"/>
                    </a:cxn>
                    <a:cxn ang="0">
                      <a:pos x="554" y="39"/>
                    </a:cxn>
                    <a:cxn ang="0">
                      <a:pos x="571" y="74"/>
                    </a:cxn>
                    <a:cxn ang="0">
                      <a:pos x="554" y="108"/>
                    </a:cxn>
                    <a:cxn ang="0">
                      <a:pos x="503" y="153"/>
                    </a:cxn>
                    <a:cxn ang="0">
                      <a:pos x="463" y="147"/>
                    </a:cxn>
                    <a:cxn ang="0">
                      <a:pos x="457" y="187"/>
                    </a:cxn>
                    <a:cxn ang="0">
                      <a:pos x="474" y="227"/>
                    </a:cxn>
                    <a:cxn ang="0">
                      <a:pos x="520" y="238"/>
                    </a:cxn>
                    <a:cxn ang="0">
                      <a:pos x="525" y="272"/>
                    </a:cxn>
                    <a:cxn ang="0">
                      <a:pos x="474" y="346"/>
                    </a:cxn>
                    <a:cxn ang="0">
                      <a:pos x="491" y="385"/>
                    </a:cxn>
                    <a:cxn ang="0">
                      <a:pos x="457" y="419"/>
                    </a:cxn>
                    <a:cxn ang="0">
                      <a:pos x="463" y="448"/>
                    </a:cxn>
                    <a:cxn ang="0">
                      <a:pos x="497" y="448"/>
                    </a:cxn>
                    <a:cxn ang="0">
                      <a:pos x="485" y="522"/>
                    </a:cxn>
                    <a:cxn ang="0">
                      <a:pos x="457" y="539"/>
                    </a:cxn>
                    <a:cxn ang="0">
                      <a:pos x="434" y="539"/>
                    </a:cxn>
                    <a:cxn ang="0">
                      <a:pos x="417" y="567"/>
                    </a:cxn>
                    <a:cxn ang="0">
                      <a:pos x="451" y="573"/>
                    </a:cxn>
                    <a:cxn ang="0">
                      <a:pos x="451" y="601"/>
                    </a:cxn>
                    <a:cxn ang="0">
                      <a:pos x="400" y="590"/>
                    </a:cxn>
                    <a:cxn ang="0">
                      <a:pos x="360" y="635"/>
                    </a:cxn>
                    <a:cxn ang="0">
                      <a:pos x="331" y="607"/>
                    </a:cxn>
                    <a:cxn ang="0">
                      <a:pos x="280" y="595"/>
                    </a:cxn>
                    <a:cxn ang="0">
                      <a:pos x="269" y="612"/>
                    </a:cxn>
                    <a:cxn ang="0">
                      <a:pos x="166" y="612"/>
                    </a:cxn>
                    <a:cxn ang="0">
                      <a:pos x="160" y="539"/>
                    </a:cxn>
                    <a:cxn ang="0">
                      <a:pos x="126" y="499"/>
                    </a:cxn>
                    <a:cxn ang="0">
                      <a:pos x="132" y="476"/>
                    </a:cxn>
                    <a:cxn ang="0">
                      <a:pos x="80" y="442"/>
                    </a:cxn>
                    <a:cxn ang="0">
                      <a:pos x="18" y="454"/>
                    </a:cxn>
                    <a:cxn ang="0">
                      <a:pos x="0" y="402"/>
                    </a:cxn>
                    <a:cxn ang="0">
                      <a:pos x="18" y="351"/>
                    </a:cxn>
                    <a:cxn ang="0">
                      <a:pos x="12" y="312"/>
                    </a:cxn>
                    <a:cxn ang="0">
                      <a:pos x="46" y="272"/>
                    </a:cxn>
                    <a:cxn ang="0">
                      <a:pos x="23" y="227"/>
                    </a:cxn>
                    <a:cxn ang="0">
                      <a:pos x="80" y="221"/>
                    </a:cxn>
                    <a:cxn ang="0">
                      <a:pos x="63" y="147"/>
                    </a:cxn>
                    <a:cxn ang="0">
                      <a:pos x="69" y="102"/>
                    </a:cxn>
                  </a:cxnLst>
                  <a:rect l="0" t="0" r="r" b="b"/>
                  <a:pathLst>
                    <a:path w="571" h="635">
                      <a:moveTo>
                        <a:pt x="69" y="102"/>
                      </a:moveTo>
                      <a:lnTo>
                        <a:pt x="183" y="74"/>
                      </a:lnTo>
                      <a:lnTo>
                        <a:pt x="189" y="45"/>
                      </a:lnTo>
                      <a:lnTo>
                        <a:pt x="234" y="39"/>
                      </a:lnTo>
                      <a:lnTo>
                        <a:pt x="263" y="108"/>
                      </a:lnTo>
                      <a:lnTo>
                        <a:pt x="360" y="51"/>
                      </a:lnTo>
                      <a:lnTo>
                        <a:pt x="377" y="0"/>
                      </a:lnTo>
                      <a:lnTo>
                        <a:pt x="417" y="0"/>
                      </a:lnTo>
                      <a:lnTo>
                        <a:pt x="440" y="34"/>
                      </a:lnTo>
                      <a:lnTo>
                        <a:pt x="554" y="39"/>
                      </a:lnTo>
                      <a:lnTo>
                        <a:pt x="571" y="74"/>
                      </a:lnTo>
                      <a:lnTo>
                        <a:pt x="554" y="108"/>
                      </a:lnTo>
                      <a:lnTo>
                        <a:pt x="503" y="153"/>
                      </a:lnTo>
                      <a:lnTo>
                        <a:pt x="463" y="147"/>
                      </a:lnTo>
                      <a:lnTo>
                        <a:pt x="457" y="187"/>
                      </a:lnTo>
                      <a:lnTo>
                        <a:pt x="474" y="227"/>
                      </a:lnTo>
                      <a:lnTo>
                        <a:pt x="520" y="238"/>
                      </a:lnTo>
                      <a:lnTo>
                        <a:pt x="525" y="272"/>
                      </a:lnTo>
                      <a:lnTo>
                        <a:pt x="474" y="346"/>
                      </a:lnTo>
                      <a:lnTo>
                        <a:pt x="491" y="385"/>
                      </a:lnTo>
                      <a:lnTo>
                        <a:pt x="457" y="419"/>
                      </a:lnTo>
                      <a:lnTo>
                        <a:pt x="463" y="448"/>
                      </a:lnTo>
                      <a:lnTo>
                        <a:pt x="497" y="448"/>
                      </a:lnTo>
                      <a:lnTo>
                        <a:pt x="485" y="522"/>
                      </a:lnTo>
                      <a:lnTo>
                        <a:pt x="457" y="539"/>
                      </a:lnTo>
                      <a:lnTo>
                        <a:pt x="434" y="539"/>
                      </a:lnTo>
                      <a:lnTo>
                        <a:pt x="417" y="567"/>
                      </a:lnTo>
                      <a:lnTo>
                        <a:pt x="451" y="573"/>
                      </a:lnTo>
                      <a:lnTo>
                        <a:pt x="451" y="601"/>
                      </a:lnTo>
                      <a:lnTo>
                        <a:pt x="400" y="590"/>
                      </a:lnTo>
                      <a:lnTo>
                        <a:pt x="360" y="635"/>
                      </a:lnTo>
                      <a:lnTo>
                        <a:pt x="331" y="607"/>
                      </a:lnTo>
                      <a:lnTo>
                        <a:pt x="280" y="595"/>
                      </a:lnTo>
                      <a:lnTo>
                        <a:pt x="269" y="612"/>
                      </a:lnTo>
                      <a:lnTo>
                        <a:pt x="166" y="612"/>
                      </a:lnTo>
                      <a:lnTo>
                        <a:pt x="160" y="539"/>
                      </a:lnTo>
                      <a:lnTo>
                        <a:pt x="126" y="499"/>
                      </a:lnTo>
                      <a:lnTo>
                        <a:pt x="132" y="476"/>
                      </a:lnTo>
                      <a:lnTo>
                        <a:pt x="80" y="442"/>
                      </a:lnTo>
                      <a:lnTo>
                        <a:pt x="18" y="454"/>
                      </a:lnTo>
                      <a:lnTo>
                        <a:pt x="0" y="402"/>
                      </a:lnTo>
                      <a:lnTo>
                        <a:pt x="18" y="351"/>
                      </a:lnTo>
                      <a:lnTo>
                        <a:pt x="12" y="312"/>
                      </a:lnTo>
                      <a:lnTo>
                        <a:pt x="46" y="272"/>
                      </a:lnTo>
                      <a:lnTo>
                        <a:pt x="23" y="227"/>
                      </a:lnTo>
                      <a:lnTo>
                        <a:pt x="80" y="221"/>
                      </a:lnTo>
                      <a:lnTo>
                        <a:pt x="63" y="147"/>
                      </a:lnTo>
                      <a:lnTo>
                        <a:pt x="69" y="102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3" name="Freeform 92"/>
                <p:cNvSpPr>
                  <a:spLocks/>
                </p:cNvSpPr>
                <p:nvPr/>
              </p:nvSpPr>
              <p:spPr bwMode="auto">
                <a:xfrm>
                  <a:off x="663" y="3380"/>
                  <a:ext cx="636" cy="765"/>
                </a:xfrm>
                <a:custGeom>
                  <a:avLst/>
                  <a:gdLst/>
                  <a:ahLst/>
                  <a:cxnLst>
                    <a:cxn ang="0">
                      <a:pos x="114" y="164"/>
                    </a:cxn>
                    <a:cxn ang="0">
                      <a:pos x="160" y="119"/>
                    </a:cxn>
                    <a:cxn ang="0">
                      <a:pos x="206" y="124"/>
                    </a:cxn>
                    <a:cxn ang="0">
                      <a:pos x="229" y="107"/>
                    </a:cxn>
                    <a:cxn ang="0">
                      <a:pos x="280" y="124"/>
                    </a:cxn>
                    <a:cxn ang="0">
                      <a:pos x="343" y="107"/>
                    </a:cxn>
                    <a:cxn ang="0">
                      <a:pos x="394" y="141"/>
                    </a:cxn>
                    <a:cxn ang="0">
                      <a:pos x="423" y="96"/>
                    </a:cxn>
                    <a:cxn ang="0">
                      <a:pos x="474" y="68"/>
                    </a:cxn>
                    <a:cxn ang="0">
                      <a:pos x="463" y="28"/>
                    </a:cxn>
                    <a:cxn ang="0">
                      <a:pos x="502" y="0"/>
                    </a:cxn>
                    <a:cxn ang="0">
                      <a:pos x="525" y="0"/>
                    </a:cxn>
                    <a:cxn ang="0">
                      <a:pos x="542" y="56"/>
                    </a:cxn>
                    <a:cxn ang="0">
                      <a:pos x="571" y="62"/>
                    </a:cxn>
                    <a:cxn ang="0">
                      <a:pos x="622" y="34"/>
                    </a:cxn>
                    <a:cxn ang="0">
                      <a:pos x="617" y="79"/>
                    </a:cxn>
                    <a:cxn ang="0">
                      <a:pos x="634" y="147"/>
                    </a:cxn>
                    <a:cxn ang="0">
                      <a:pos x="577" y="158"/>
                    </a:cxn>
                    <a:cxn ang="0">
                      <a:pos x="599" y="198"/>
                    </a:cxn>
                    <a:cxn ang="0">
                      <a:pos x="565" y="238"/>
                    </a:cxn>
                    <a:cxn ang="0">
                      <a:pos x="565" y="277"/>
                    </a:cxn>
                    <a:cxn ang="0">
                      <a:pos x="548" y="328"/>
                    </a:cxn>
                    <a:cxn ang="0">
                      <a:pos x="508" y="345"/>
                    </a:cxn>
                    <a:cxn ang="0">
                      <a:pos x="514" y="402"/>
                    </a:cxn>
                    <a:cxn ang="0">
                      <a:pos x="491" y="425"/>
                    </a:cxn>
                    <a:cxn ang="0">
                      <a:pos x="457" y="408"/>
                    </a:cxn>
                    <a:cxn ang="0">
                      <a:pos x="423" y="442"/>
                    </a:cxn>
                    <a:cxn ang="0">
                      <a:pos x="417" y="510"/>
                    </a:cxn>
                    <a:cxn ang="0">
                      <a:pos x="360" y="555"/>
                    </a:cxn>
                    <a:cxn ang="0">
                      <a:pos x="280" y="578"/>
                    </a:cxn>
                    <a:cxn ang="0">
                      <a:pos x="251" y="657"/>
                    </a:cxn>
                    <a:cxn ang="0">
                      <a:pos x="200" y="680"/>
                    </a:cxn>
                    <a:cxn ang="0">
                      <a:pos x="166" y="742"/>
                    </a:cxn>
                    <a:cxn ang="0">
                      <a:pos x="126" y="742"/>
                    </a:cxn>
                    <a:cxn ang="0">
                      <a:pos x="63" y="765"/>
                    </a:cxn>
                    <a:cxn ang="0">
                      <a:pos x="35" y="691"/>
                    </a:cxn>
                    <a:cxn ang="0">
                      <a:pos x="46" y="589"/>
                    </a:cxn>
                    <a:cxn ang="0">
                      <a:pos x="17" y="578"/>
                    </a:cxn>
                    <a:cxn ang="0">
                      <a:pos x="17" y="544"/>
                    </a:cxn>
                    <a:cxn ang="0">
                      <a:pos x="0" y="527"/>
                    </a:cxn>
                    <a:cxn ang="0">
                      <a:pos x="63" y="453"/>
                    </a:cxn>
                    <a:cxn ang="0">
                      <a:pos x="109" y="436"/>
                    </a:cxn>
                    <a:cxn ang="0">
                      <a:pos x="103" y="402"/>
                    </a:cxn>
                    <a:cxn ang="0">
                      <a:pos x="80" y="385"/>
                    </a:cxn>
                    <a:cxn ang="0">
                      <a:pos x="86" y="328"/>
                    </a:cxn>
                    <a:cxn ang="0">
                      <a:pos x="114" y="311"/>
                    </a:cxn>
                    <a:cxn ang="0">
                      <a:pos x="92" y="272"/>
                    </a:cxn>
                    <a:cxn ang="0">
                      <a:pos x="86" y="226"/>
                    </a:cxn>
                    <a:cxn ang="0">
                      <a:pos x="114" y="164"/>
                    </a:cxn>
                  </a:cxnLst>
                  <a:rect l="0" t="0" r="r" b="b"/>
                  <a:pathLst>
                    <a:path w="634" h="765">
                      <a:moveTo>
                        <a:pt x="114" y="164"/>
                      </a:moveTo>
                      <a:lnTo>
                        <a:pt x="160" y="119"/>
                      </a:lnTo>
                      <a:lnTo>
                        <a:pt x="206" y="124"/>
                      </a:lnTo>
                      <a:lnTo>
                        <a:pt x="229" y="107"/>
                      </a:lnTo>
                      <a:lnTo>
                        <a:pt x="280" y="124"/>
                      </a:lnTo>
                      <a:lnTo>
                        <a:pt x="343" y="107"/>
                      </a:lnTo>
                      <a:lnTo>
                        <a:pt x="394" y="141"/>
                      </a:lnTo>
                      <a:lnTo>
                        <a:pt x="423" y="96"/>
                      </a:lnTo>
                      <a:lnTo>
                        <a:pt x="474" y="68"/>
                      </a:lnTo>
                      <a:lnTo>
                        <a:pt x="463" y="28"/>
                      </a:lnTo>
                      <a:lnTo>
                        <a:pt x="502" y="0"/>
                      </a:lnTo>
                      <a:lnTo>
                        <a:pt x="525" y="0"/>
                      </a:lnTo>
                      <a:lnTo>
                        <a:pt x="542" y="56"/>
                      </a:lnTo>
                      <a:lnTo>
                        <a:pt x="571" y="62"/>
                      </a:lnTo>
                      <a:lnTo>
                        <a:pt x="622" y="34"/>
                      </a:lnTo>
                      <a:lnTo>
                        <a:pt x="617" y="79"/>
                      </a:lnTo>
                      <a:lnTo>
                        <a:pt x="634" y="147"/>
                      </a:lnTo>
                      <a:lnTo>
                        <a:pt x="577" y="158"/>
                      </a:lnTo>
                      <a:lnTo>
                        <a:pt x="599" y="198"/>
                      </a:lnTo>
                      <a:lnTo>
                        <a:pt x="565" y="238"/>
                      </a:lnTo>
                      <a:lnTo>
                        <a:pt x="565" y="277"/>
                      </a:lnTo>
                      <a:lnTo>
                        <a:pt x="548" y="328"/>
                      </a:lnTo>
                      <a:lnTo>
                        <a:pt x="508" y="345"/>
                      </a:lnTo>
                      <a:lnTo>
                        <a:pt x="514" y="402"/>
                      </a:lnTo>
                      <a:lnTo>
                        <a:pt x="491" y="425"/>
                      </a:lnTo>
                      <a:lnTo>
                        <a:pt x="457" y="408"/>
                      </a:lnTo>
                      <a:lnTo>
                        <a:pt x="423" y="442"/>
                      </a:lnTo>
                      <a:lnTo>
                        <a:pt x="417" y="510"/>
                      </a:lnTo>
                      <a:lnTo>
                        <a:pt x="360" y="555"/>
                      </a:lnTo>
                      <a:lnTo>
                        <a:pt x="280" y="578"/>
                      </a:lnTo>
                      <a:lnTo>
                        <a:pt x="251" y="657"/>
                      </a:lnTo>
                      <a:lnTo>
                        <a:pt x="200" y="680"/>
                      </a:lnTo>
                      <a:lnTo>
                        <a:pt x="166" y="742"/>
                      </a:lnTo>
                      <a:lnTo>
                        <a:pt x="126" y="742"/>
                      </a:lnTo>
                      <a:lnTo>
                        <a:pt x="63" y="765"/>
                      </a:lnTo>
                      <a:lnTo>
                        <a:pt x="35" y="691"/>
                      </a:lnTo>
                      <a:lnTo>
                        <a:pt x="46" y="589"/>
                      </a:lnTo>
                      <a:lnTo>
                        <a:pt x="17" y="578"/>
                      </a:lnTo>
                      <a:lnTo>
                        <a:pt x="17" y="544"/>
                      </a:lnTo>
                      <a:lnTo>
                        <a:pt x="0" y="527"/>
                      </a:lnTo>
                      <a:lnTo>
                        <a:pt x="63" y="453"/>
                      </a:lnTo>
                      <a:lnTo>
                        <a:pt x="109" y="436"/>
                      </a:lnTo>
                      <a:lnTo>
                        <a:pt x="103" y="402"/>
                      </a:lnTo>
                      <a:lnTo>
                        <a:pt x="80" y="385"/>
                      </a:lnTo>
                      <a:lnTo>
                        <a:pt x="86" y="328"/>
                      </a:lnTo>
                      <a:lnTo>
                        <a:pt x="114" y="311"/>
                      </a:lnTo>
                      <a:lnTo>
                        <a:pt x="92" y="272"/>
                      </a:lnTo>
                      <a:lnTo>
                        <a:pt x="86" y="226"/>
                      </a:lnTo>
                      <a:lnTo>
                        <a:pt x="114" y="164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4" name="Freeform 94"/>
                <p:cNvSpPr>
                  <a:spLocks/>
                </p:cNvSpPr>
                <p:nvPr/>
              </p:nvSpPr>
              <p:spPr bwMode="auto">
                <a:xfrm>
                  <a:off x="832" y="3707"/>
                  <a:ext cx="548" cy="521"/>
                </a:xfrm>
                <a:custGeom>
                  <a:avLst/>
                  <a:gdLst/>
                  <a:ahLst/>
                  <a:cxnLst>
                    <a:cxn ang="0">
                      <a:pos x="285" y="80"/>
                    </a:cxn>
                    <a:cxn ang="0">
                      <a:pos x="314" y="97"/>
                    </a:cxn>
                    <a:cxn ang="0">
                      <a:pos x="336" y="74"/>
                    </a:cxn>
                    <a:cxn ang="0">
                      <a:pos x="331" y="12"/>
                    </a:cxn>
                    <a:cxn ang="0">
                      <a:pos x="376" y="0"/>
                    </a:cxn>
                    <a:cxn ang="0">
                      <a:pos x="394" y="46"/>
                    </a:cxn>
                    <a:cxn ang="0">
                      <a:pos x="456" y="34"/>
                    </a:cxn>
                    <a:cxn ang="0">
                      <a:pos x="508" y="69"/>
                    </a:cxn>
                    <a:cxn ang="0">
                      <a:pos x="502" y="97"/>
                    </a:cxn>
                    <a:cxn ang="0">
                      <a:pos x="530" y="137"/>
                    </a:cxn>
                    <a:cxn ang="0">
                      <a:pos x="542" y="205"/>
                    </a:cxn>
                    <a:cxn ang="0">
                      <a:pos x="548" y="244"/>
                    </a:cxn>
                    <a:cxn ang="0">
                      <a:pos x="473" y="324"/>
                    </a:cxn>
                    <a:cxn ang="0">
                      <a:pos x="399" y="301"/>
                    </a:cxn>
                    <a:cxn ang="0">
                      <a:pos x="399" y="466"/>
                    </a:cxn>
                    <a:cxn ang="0">
                      <a:pos x="354" y="500"/>
                    </a:cxn>
                    <a:cxn ang="0">
                      <a:pos x="308" y="471"/>
                    </a:cxn>
                    <a:cxn ang="0">
                      <a:pos x="279" y="500"/>
                    </a:cxn>
                    <a:cxn ang="0">
                      <a:pos x="262" y="483"/>
                    </a:cxn>
                    <a:cxn ang="0">
                      <a:pos x="239" y="522"/>
                    </a:cxn>
                    <a:cxn ang="0">
                      <a:pos x="217" y="522"/>
                    </a:cxn>
                    <a:cxn ang="0">
                      <a:pos x="217" y="488"/>
                    </a:cxn>
                    <a:cxn ang="0">
                      <a:pos x="257" y="460"/>
                    </a:cxn>
                    <a:cxn ang="0">
                      <a:pos x="234" y="426"/>
                    </a:cxn>
                    <a:cxn ang="0">
                      <a:pos x="205" y="397"/>
                    </a:cxn>
                    <a:cxn ang="0">
                      <a:pos x="142" y="380"/>
                    </a:cxn>
                    <a:cxn ang="0">
                      <a:pos x="91" y="397"/>
                    </a:cxn>
                    <a:cxn ang="0">
                      <a:pos x="74" y="449"/>
                    </a:cxn>
                    <a:cxn ang="0">
                      <a:pos x="57" y="466"/>
                    </a:cxn>
                    <a:cxn ang="0">
                      <a:pos x="0" y="420"/>
                    </a:cxn>
                    <a:cxn ang="0">
                      <a:pos x="28" y="352"/>
                    </a:cxn>
                    <a:cxn ang="0">
                      <a:pos x="74" y="329"/>
                    </a:cxn>
                    <a:cxn ang="0">
                      <a:pos x="108" y="250"/>
                    </a:cxn>
                    <a:cxn ang="0">
                      <a:pos x="182" y="227"/>
                    </a:cxn>
                    <a:cxn ang="0">
                      <a:pos x="245" y="182"/>
                    </a:cxn>
                    <a:cxn ang="0">
                      <a:pos x="251" y="114"/>
                    </a:cxn>
                    <a:cxn ang="0">
                      <a:pos x="285" y="80"/>
                    </a:cxn>
                  </a:cxnLst>
                  <a:rect l="0" t="0" r="r" b="b"/>
                  <a:pathLst>
                    <a:path w="548" h="522">
                      <a:moveTo>
                        <a:pt x="285" y="80"/>
                      </a:moveTo>
                      <a:lnTo>
                        <a:pt x="314" y="97"/>
                      </a:lnTo>
                      <a:lnTo>
                        <a:pt x="336" y="74"/>
                      </a:lnTo>
                      <a:lnTo>
                        <a:pt x="331" y="12"/>
                      </a:lnTo>
                      <a:lnTo>
                        <a:pt x="376" y="0"/>
                      </a:lnTo>
                      <a:lnTo>
                        <a:pt x="394" y="46"/>
                      </a:lnTo>
                      <a:lnTo>
                        <a:pt x="456" y="34"/>
                      </a:lnTo>
                      <a:lnTo>
                        <a:pt x="508" y="69"/>
                      </a:lnTo>
                      <a:lnTo>
                        <a:pt x="502" y="97"/>
                      </a:lnTo>
                      <a:lnTo>
                        <a:pt x="530" y="137"/>
                      </a:lnTo>
                      <a:lnTo>
                        <a:pt x="542" y="205"/>
                      </a:lnTo>
                      <a:lnTo>
                        <a:pt x="548" y="244"/>
                      </a:lnTo>
                      <a:lnTo>
                        <a:pt x="473" y="324"/>
                      </a:lnTo>
                      <a:lnTo>
                        <a:pt x="399" y="301"/>
                      </a:lnTo>
                      <a:lnTo>
                        <a:pt x="399" y="466"/>
                      </a:lnTo>
                      <a:lnTo>
                        <a:pt x="354" y="500"/>
                      </a:lnTo>
                      <a:lnTo>
                        <a:pt x="308" y="471"/>
                      </a:lnTo>
                      <a:lnTo>
                        <a:pt x="279" y="500"/>
                      </a:lnTo>
                      <a:lnTo>
                        <a:pt x="262" y="483"/>
                      </a:lnTo>
                      <a:lnTo>
                        <a:pt x="239" y="522"/>
                      </a:lnTo>
                      <a:lnTo>
                        <a:pt x="217" y="522"/>
                      </a:lnTo>
                      <a:lnTo>
                        <a:pt x="217" y="488"/>
                      </a:lnTo>
                      <a:lnTo>
                        <a:pt x="257" y="460"/>
                      </a:lnTo>
                      <a:lnTo>
                        <a:pt x="234" y="426"/>
                      </a:lnTo>
                      <a:lnTo>
                        <a:pt x="205" y="397"/>
                      </a:lnTo>
                      <a:lnTo>
                        <a:pt x="142" y="380"/>
                      </a:lnTo>
                      <a:lnTo>
                        <a:pt x="91" y="397"/>
                      </a:lnTo>
                      <a:lnTo>
                        <a:pt x="74" y="449"/>
                      </a:lnTo>
                      <a:lnTo>
                        <a:pt x="57" y="466"/>
                      </a:lnTo>
                      <a:lnTo>
                        <a:pt x="0" y="420"/>
                      </a:lnTo>
                      <a:lnTo>
                        <a:pt x="28" y="352"/>
                      </a:lnTo>
                      <a:lnTo>
                        <a:pt x="74" y="329"/>
                      </a:lnTo>
                      <a:lnTo>
                        <a:pt x="108" y="250"/>
                      </a:lnTo>
                      <a:lnTo>
                        <a:pt x="182" y="227"/>
                      </a:lnTo>
                      <a:lnTo>
                        <a:pt x="245" y="182"/>
                      </a:lnTo>
                      <a:lnTo>
                        <a:pt x="251" y="114"/>
                      </a:lnTo>
                      <a:lnTo>
                        <a:pt x="285" y="80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chemeClr val="tx1"/>
                  </a:solidFill>
                  <a:headEnd/>
                  <a:tailEnd/>
                </a:ln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5" name="Freeform 96"/>
                <p:cNvSpPr>
                  <a:spLocks/>
                </p:cNvSpPr>
                <p:nvPr/>
              </p:nvSpPr>
              <p:spPr bwMode="auto">
                <a:xfrm>
                  <a:off x="1236" y="3832"/>
                  <a:ext cx="764" cy="433"/>
                </a:xfrm>
                <a:custGeom>
                  <a:avLst/>
                  <a:gdLst/>
                  <a:ahLst/>
                  <a:cxnLst>
                    <a:cxn ang="0">
                      <a:pos x="137" y="85"/>
                    </a:cxn>
                    <a:cxn ang="0">
                      <a:pos x="234" y="91"/>
                    </a:cxn>
                    <a:cxn ang="0">
                      <a:pos x="251" y="74"/>
                    </a:cxn>
                    <a:cxn ang="0">
                      <a:pos x="302" y="80"/>
                    </a:cxn>
                    <a:cxn ang="0">
                      <a:pos x="325" y="108"/>
                    </a:cxn>
                    <a:cxn ang="0">
                      <a:pos x="365" y="68"/>
                    </a:cxn>
                    <a:cxn ang="0">
                      <a:pos x="422" y="80"/>
                    </a:cxn>
                    <a:cxn ang="0">
                      <a:pos x="422" y="51"/>
                    </a:cxn>
                    <a:cxn ang="0">
                      <a:pos x="382" y="40"/>
                    </a:cxn>
                    <a:cxn ang="0">
                      <a:pos x="399" y="12"/>
                    </a:cxn>
                    <a:cxn ang="0">
                      <a:pos x="422" y="17"/>
                    </a:cxn>
                    <a:cxn ang="0">
                      <a:pos x="451" y="0"/>
                    </a:cxn>
                    <a:cxn ang="0">
                      <a:pos x="479" y="40"/>
                    </a:cxn>
                    <a:cxn ang="0">
                      <a:pos x="542" y="34"/>
                    </a:cxn>
                    <a:cxn ang="0">
                      <a:pos x="559" y="68"/>
                    </a:cxn>
                    <a:cxn ang="0">
                      <a:pos x="553" y="102"/>
                    </a:cxn>
                    <a:cxn ang="0">
                      <a:pos x="582" y="119"/>
                    </a:cxn>
                    <a:cxn ang="0">
                      <a:pos x="582" y="153"/>
                    </a:cxn>
                    <a:cxn ang="0">
                      <a:pos x="639" y="131"/>
                    </a:cxn>
                    <a:cxn ang="0">
                      <a:pos x="765" y="199"/>
                    </a:cxn>
                    <a:cxn ang="0">
                      <a:pos x="759" y="221"/>
                    </a:cxn>
                    <a:cxn ang="0">
                      <a:pos x="725" y="238"/>
                    </a:cxn>
                    <a:cxn ang="0">
                      <a:pos x="673" y="307"/>
                    </a:cxn>
                    <a:cxn ang="0">
                      <a:pos x="645" y="318"/>
                    </a:cxn>
                    <a:cxn ang="0">
                      <a:pos x="650" y="335"/>
                    </a:cxn>
                    <a:cxn ang="0">
                      <a:pos x="588" y="341"/>
                    </a:cxn>
                    <a:cxn ang="0">
                      <a:pos x="559" y="369"/>
                    </a:cxn>
                    <a:cxn ang="0">
                      <a:pos x="502" y="363"/>
                    </a:cxn>
                    <a:cxn ang="0">
                      <a:pos x="445" y="426"/>
                    </a:cxn>
                    <a:cxn ang="0">
                      <a:pos x="422" y="397"/>
                    </a:cxn>
                    <a:cxn ang="0">
                      <a:pos x="405" y="409"/>
                    </a:cxn>
                    <a:cxn ang="0">
                      <a:pos x="365" y="392"/>
                    </a:cxn>
                    <a:cxn ang="0">
                      <a:pos x="319" y="431"/>
                    </a:cxn>
                    <a:cxn ang="0">
                      <a:pos x="262" y="386"/>
                    </a:cxn>
                    <a:cxn ang="0">
                      <a:pos x="222" y="369"/>
                    </a:cxn>
                    <a:cxn ang="0">
                      <a:pos x="143" y="369"/>
                    </a:cxn>
                    <a:cxn ang="0">
                      <a:pos x="108" y="409"/>
                    </a:cxn>
                    <a:cxn ang="0">
                      <a:pos x="114" y="358"/>
                    </a:cxn>
                    <a:cxn ang="0">
                      <a:pos x="86" y="324"/>
                    </a:cxn>
                    <a:cxn ang="0">
                      <a:pos x="63" y="369"/>
                    </a:cxn>
                    <a:cxn ang="0">
                      <a:pos x="46" y="341"/>
                    </a:cxn>
                    <a:cxn ang="0">
                      <a:pos x="23" y="363"/>
                    </a:cxn>
                    <a:cxn ang="0">
                      <a:pos x="17" y="346"/>
                    </a:cxn>
                    <a:cxn ang="0">
                      <a:pos x="0" y="346"/>
                    </a:cxn>
                    <a:cxn ang="0">
                      <a:pos x="0" y="182"/>
                    </a:cxn>
                    <a:cxn ang="0">
                      <a:pos x="68" y="199"/>
                    </a:cxn>
                    <a:cxn ang="0">
                      <a:pos x="143" y="131"/>
                    </a:cxn>
                    <a:cxn ang="0">
                      <a:pos x="137" y="85"/>
                    </a:cxn>
                  </a:cxnLst>
                  <a:rect l="0" t="0" r="r" b="b"/>
                  <a:pathLst>
                    <a:path w="765" h="431">
                      <a:moveTo>
                        <a:pt x="137" y="85"/>
                      </a:moveTo>
                      <a:lnTo>
                        <a:pt x="234" y="91"/>
                      </a:lnTo>
                      <a:lnTo>
                        <a:pt x="251" y="74"/>
                      </a:lnTo>
                      <a:lnTo>
                        <a:pt x="302" y="80"/>
                      </a:lnTo>
                      <a:lnTo>
                        <a:pt x="325" y="108"/>
                      </a:lnTo>
                      <a:lnTo>
                        <a:pt x="365" y="68"/>
                      </a:lnTo>
                      <a:lnTo>
                        <a:pt x="422" y="80"/>
                      </a:lnTo>
                      <a:lnTo>
                        <a:pt x="422" y="51"/>
                      </a:lnTo>
                      <a:lnTo>
                        <a:pt x="382" y="40"/>
                      </a:lnTo>
                      <a:lnTo>
                        <a:pt x="399" y="12"/>
                      </a:lnTo>
                      <a:lnTo>
                        <a:pt x="422" y="17"/>
                      </a:lnTo>
                      <a:lnTo>
                        <a:pt x="451" y="0"/>
                      </a:lnTo>
                      <a:lnTo>
                        <a:pt x="479" y="40"/>
                      </a:lnTo>
                      <a:lnTo>
                        <a:pt x="542" y="34"/>
                      </a:lnTo>
                      <a:lnTo>
                        <a:pt x="559" y="68"/>
                      </a:lnTo>
                      <a:lnTo>
                        <a:pt x="553" y="102"/>
                      </a:lnTo>
                      <a:lnTo>
                        <a:pt x="582" y="119"/>
                      </a:lnTo>
                      <a:lnTo>
                        <a:pt x="582" y="153"/>
                      </a:lnTo>
                      <a:lnTo>
                        <a:pt x="639" y="131"/>
                      </a:lnTo>
                      <a:lnTo>
                        <a:pt x="765" y="199"/>
                      </a:lnTo>
                      <a:lnTo>
                        <a:pt x="759" y="221"/>
                      </a:lnTo>
                      <a:lnTo>
                        <a:pt x="725" y="238"/>
                      </a:lnTo>
                      <a:lnTo>
                        <a:pt x="673" y="307"/>
                      </a:lnTo>
                      <a:lnTo>
                        <a:pt x="645" y="318"/>
                      </a:lnTo>
                      <a:lnTo>
                        <a:pt x="650" y="335"/>
                      </a:lnTo>
                      <a:lnTo>
                        <a:pt x="588" y="341"/>
                      </a:lnTo>
                      <a:lnTo>
                        <a:pt x="559" y="369"/>
                      </a:lnTo>
                      <a:lnTo>
                        <a:pt x="502" y="363"/>
                      </a:lnTo>
                      <a:lnTo>
                        <a:pt x="445" y="426"/>
                      </a:lnTo>
                      <a:lnTo>
                        <a:pt x="422" y="397"/>
                      </a:lnTo>
                      <a:lnTo>
                        <a:pt x="405" y="409"/>
                      </a:lnTo>
                      <a:lnTo>
                        <a:pt x="365" y="392"/>
                      </a:lnTo>
                      <a:lnTo>
                        <a:pt x="319" y="431"/>
                      </a:lnTo>
                      <a:lnTo>
                        <a:pt x="262" y="386"/>
                      </a:lnTo>
                      <a:lnTo>
                        <a:pt x="222" y="369"/>
                      </a:lnTo>
                      <a:lnTo>
                        <a:pt x="143" y="369"/>
                      </a:lnTo>
                      <a:lnTo>
                        <a:pt x="108" y="409"/>
                      </a:lnTo>
                      <a:lnTo>
                        <a:pt x="114" y="358"/>
                      </a:lnTo>
                      <a:lnTo>
                        <a:pt x="86" y="324"/>
                      </a:lnTo>
                      <a:lnTo>
                        <a:pt x="63" y="369"/>
                      </a:lnTo>
                      <a:lnTo>
                        <a:pt x="46" y="341"/>
                      </a:lnTo>
                      <a:lnTo>
                        <a:pt x="23" y="363"/>
                      </a:lnTo>
                      <a:lnTo>
                        <a:pt x="17" y="346"/>
                      </a:lnTo>
                      <a:lnTo>
                        <a:pt x="0" y="346"/>
                      </a:lnTo>
                      <a:lnTo>
                        <a:pt x="0" y="182"/>
                      </a:lnTo>
                      <a:lnTo>
                        <a:pt x="68" y="199"/>
                      </a:lnTo>
                      <a:lnTo>
                        <a:pt x="143" y="131"/>
                      </a:lnTo>
                      <a:lnTo>
                        <a:pt x="137" y="85"/>
                      </a:ln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0">
                  <a:solidFill>
                    <a:srgbClr val="000000"/>
                  </a:solidFill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>
                    <a:defRPr/>
                  </a:pPr>
                  <a:endParaRPr lang="ru-RU" sz="800" dirty="0">
                    <a:solidFill>
                      <a:prstClr val="white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6" name="Rectangle 102"/>
                <p:cNvSpPr>
                  <a:spLocks noChangeArrowheads="1"/>
                </p:cNvSpPr>
                <p:nvPr/>
              </p:nvSpPr>
              <p:spPr bwMode="auto">
                <a:xfrm>
                  <a:off x="3859" y="2778"/>
                  <a:ext cx="380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Кимр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27" name="Rectangle 105"/>
                <p:cNvSpPr>
                  <a:spLocks noChangeArrowheads="1"/>
                </p:cNvSpPr>
                <p:nvPr/>
              </p:nvSpPr>
              <p:spPr bwMode="auto">
                <a:xfrm>
                  <a:off x="3900" y="2183"/>
                  <a:ext cx="559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Кесовогор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28" name="Rectangle 108"/>
                <p:cNvSpPr>
                  <a:spLocks noChangeArrowheads="1"/>
                </p:cNvSpPr>
                <p:nvPr/>
              </p:nvSpPr>
              <p:spPr bwMode="auto">
                <a:xfrm>
                  <a:off x="3916" y="2463"/>
                  <a:ext cx="503" cy="5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algn="ctr">
                    <a:lnSpc>
                      <a:spcPct val="50000"/>
                    </a:lnSpc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Кашин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29" name="Rectangle 111"/>
                <p:cNvSpPr>
                  <a:spLocks noChangeArrowheads="1"/>
                </p:cNvSpPr>
                <p:nvPr/>
              </p:nvSpPr>
              <p:spPr bwMode="auto">
                <a:xfrm>
                  <a:off x="4319" y="2682"/>
                  <a:ext cx="485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Калязин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0" name="Rectangle 114"/>
                <p:cNvSpPr>
                  <a:spLocks noChangeArrowheads="1"/>
                </p:cNvSpPr>
                <p:nvPr/>
              </p:nvSpPr>
              <p:spPr bwMode="auto">
                <a:xfrm>
                  <a:off x="3893" y="1995"/>
                  <a:ext cx="447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Сонко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1" name="Rectangle 117"/>
                <p:cNvSpPr>
                  <a:spLocks noChangeArrowheads="1"/>
                </p:cNvSpPr>
                <p:nvPr/>
              </p:nvSpPr>
              <p:spPr bwMode="auto">
                <a:xfrm>
                  <a:off x="3898" y="1717"/>
                  <a:ext cx="625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Краснохолм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2" name="Rectangle 120"/>
                <p:cNvSpPr>
                  <a:spLocks noChangeArrowheads="1"/>
                </p:cNvSpPr>
                <p:nvPr/>
              </p:nvSpPr>
              <p:spPr bwMode="auto">
                <a:xfrm>
                  <a:off x="3312" y="1375"/>
                  <a:ext cx="448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Сандо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3" name="Rectangle 123"/>
                <p:cNvSpPr>
                  <a:spLocks noChangeArrowheads="1"/>
                </p:cNvSpPr>
                <p:nvPr/>
              </p:nvSpPr>
              <p:spPr bwMode="auto">
                <a:xfrm>
                  <a:off x="3748" y="1161"/>
                  <a:ext cx="516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Весьегон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4" name="Rectangle 126"/>
                <p:cNvSpPr>
                  <a:spLocks noChangeArrowheads="1"/>
                </p:cNvSpPr>
                <p:nvPr/>
              </p:nvSpPr>
              <p:spPr bwMode="auto">
                <a:xfrm>
                  <a:off x="3489" y="2157"/>
                  <a:ext cx="371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sz="1300" dirty="0" err="1">
                      <a:solidFill>
                        <a:prstClr val="black"/>
                      </a:solidFill>
                      <a:latin typeface="Times New Roman" pitchFamily="18" charset="0"/>
                      <a:cs typeface="Times New Roman" pitchFamily="18" charset="0"/>
                    </a:rPr>
                    <a:t>Бежецкий</a:t>
                  </a:r>
                  <a:endParaRPr lang="ru-RU" sz="1400" dirty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" name="Rectangle 129"/>
                <p:cNvSpPr>
                  <a:spLocks noChangeArrowheads="1"/>
                </p:cNvSpPr>
                <p:nvPr/>
              </p:nvSpPr>
              <p:spPr bwMode="auto">
                <a:xfrm>
                  <a:off x="3442" y="1588"/>
                  <a:ext cx="504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Молоко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6" name="Rectangle 132"/>
                <p:cNvSpPr>
                  <a:spLocks noChangeArrowheads="1"/>
                </p:cNvSpPr>
                <p:nvPr/>
              </p:nvSpPr>
              <p:spPr bwMode="auto">
                <a:xfrm>
                  <a:off x="3001" y="1531"/>
                  <a:ext cx="276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Лесно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7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32" y="2334"/>
                  <a:ext cx="456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Спиро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8" name="Rectangle 138"/>
                <p:cNvSpPr>
                  <a:spLocks noChangeArrowheads="1"/>
                </p:cNvSpPr>
                <p:nvPr/>
              </p:nvSpPr>
              <p:spPr bwMode="auto">
                <a:xfrm>
                  <a:off x="3072" y="1981"/>
                  <a:ext cx="631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Максатихин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9" name="Rectangle 141"/>
                <p:cNvSpPr>
                  <a:spLocks noChangeArrowheads="1"/>
                </p:cNvSpPr>
                <p:nvPr/>
              </p:nvSpPr>
              <p:spPr bwMode="auto">
                <a:xfrm>
                  <a:off x="3317" y="2529"/>
                  <a:ext cx="547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Рамешко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0" name="Rectangle 144"/>
                <p:cNvSpPr>
                  <a:spLocks noChangeArrowheads="1"/>
                </p:cNvSpPr>
                <p:nvPr/>
              </p:nvSpPr>
              <p:spPr bwMode="auto">
                <a:xfrm>
                  <a:off x="3474" y="3038"/>
                  <a:ext cx="535" cy="2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Конаков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1" name="Rectangle 147"/>
                <p:cNvSpPr>
                  <a:spLocks noChangeArrowheads="1"/>
                </p:cNvSpPr>
                <p:nvPr/>
              </p:nvSpPr>
              <p:spPr bwMode="auto">
                <a:xfrm>
                  <a:off x="3077" y="2844"/>
                  <a:ext cx="558" cy="2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Калинин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2" name="Rectangle 150"/>
                <p:cNvSpPr>
                  <a:spLocks noChangeArrowheads="1"/>
                </p:cNvSpPr>
                <p:nvPr/>
              </p:nvSpPr>
              <p:spPr bwMode="auto">
                <a:xfrm>
                  <a:off x="2587" y="3240"/>
                  <a:ext cx="463" cy="2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Стариц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3" name="Rectangle 153"/>
                <p:cNvSpPr>
                  <a:spLocks noChangeArrowheads="1"/>
                </p:cNvSpPr>
                <p:nvPr/>
              </p:nvSpPr>
              <p:spPr bwMode="auto">
                <a:xfrm>
                  <a:off x="2514" y="2838"/>
                  <a:ext cx="507" cy="2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Торжок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4" name="Rectangle 156"/>
                <p:cNvSpPr>
                  <a:spLocks noChangeArrowheads="1"/>
                </p:cNvSpPr>
                <p:nvPr/>
              </p:nvSpPr>
              <p:spPr bwMode="auto">
                <a:xfrm>
                  <a:off x="2935" y="2655"/>
                  <a:ext cx="613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Лихославль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5" name="Rectangle 159"/>
                <p:cNvSpPr>
                  <a:spLocks noChangeArrowheads="1"/>
                </p:cNvSpPr>
                <p:nvPr/>
              </p:nvSpPr>
              <p:spPr bwMode="auto">
                <a:xfrm>
                  <a:off x="2124" y="3416"/>
                  <a:ext cx="363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Рже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6" name="Rectangle 162"/>
                <p:cNvSpPr>
                  <a:spLocks noChangeArrowheads="1"/>
                </p:cNvSpPr>
                <p:nvPr/>
              </p:nvSpPr>
              <p:spPr bwMode="auto">
                <a:xfrm>
                  <a:off x="2307" y="2171"/>
                  <a:ext cx="624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Вышневолоц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7" name="Rectangle 165"/>
                <p:cNvSpPr>
                  <a:spLocks noChangeArrowheads="1"/>
                </p:cNvSpPr>
                <p:nvPr/>
              </p:nvSpPr>
              <p:spPr bwMode="auto">
                <a:xfrm>
                  <a:off x="2562" y="1840"/>
                  <a:ext cx="585" cy="9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>
                    <a:lnSpc>
                      <a:spcPts val="1200"/>
                    </a:lnSpc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Удомель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8" name="Rectangle 168"/>
                <p:cNvSpPr>
                  <a:spLocks noChangeArrowheads="1"/>
                </p:cNvSpPr>
                <p:nvPr/>
              </p:nvSpPr>
              <p:spPr bwMode="auto">
                <a:xfrm>
                  <a:off x="2001" y="1741"/>
                  <a:ext cx="518" cy="2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Бологов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9" name="Rectangle 171"/>
                <p:cNvSpPr>
                  <a:spLocks noChangeArrowheads="1"/>
                </p:cNvSpPr>
                <p:nvPr/>
              </p:nvSpPr>
              <p:spPr bwMode="auto">
                <a:xfrm>
                  <a:off x="1773" y="2136"/>
                  <a:ext cx="536" cy="2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Фиров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0" name="Rectangle 174"/>
                <p:cNvSpPr>
                  <a:spLocks noChangeArrowheads="1"/>
                </p:cNvSpPr>
                <p:nvPr/>
              </p:nvSpPr>
              <p:spPr bwMode="auto">
                <a:xfrm>
                  <a:off x="2093" y="2732"/>
                  <a:ext cx="558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Кувшино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1" name="Rectangle 177"/>
                <p:cNvSpPr>
                  <a:spLocks noChangeArrowheads="1"/>
                </p:cNvSpPr>
                <p:nvPr/>
              </p:nvSpPr>
              <p:spPr bwMode="auto">
                <a:xfrm>
                  <a:off x="1691" y="3039"/>
                  <a:ext cx="591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Селижаро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2" name="Rectangle 180"/>
                <p:cNvSpPr>
                  <a:spLocks noChangeArrowheads="1"/>
                </p:cNvSpPr>
                <p:nvPr/>
              </p:nvSpPr>
              <p:spPr bwMode="auto">
                <a:xfrm>
                  <a:off x="1438" y="2526"/>
                  <a:ext cx="577" cy="1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/>
                <a:p>
                  <a:pPr algn="ctr">
                    <a:lnSpc>
                      <a:spcPts val="1200"/>
                    </a:lnSpc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Осташков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</a:p>
                <a:p>
                  <a:pPr>
                    <a:lnSpc>
                      <a:spcPts val="1200"/>
                    </a:lnSpc>
                    <a:defRPr/>
                  </a:pP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3" name="Rectangle 183"/>
                <p:cNvSpPr>
                  <a:spLocks noChangeArrowheads="1"/>
                </p:cNvSpPr>
                <p:nvPr/>
              </p:nvSpPr>
              <p:spPr bwMode="auto">
                <a:xfrm>
                  <a:off x="1173" y="2709"/>
                  <a:ext cx="463" cy="35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Пенов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</a:p>
                <a:p>
                  <a:pPr>
                    <a:defRPr/>
                  </a:pP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4" name="Rectangle 186"/>
                <p:cNvSpPr>
                  <a:spLocks noChangeArrowheads="1"/>
                </p:cNvSpPr>
                <p:nvPr/>
              </p:nvSpPr>
              <p:spPr bwMode="auto">
                <a:xfrm>
                  <a:off x="935" y="2987"/>
                  <a:ext cx="678" cy="2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Андреаполь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5" name="Rectangle 189"/>
                <p:cNvSpPr>
                  <a:spLocks noChangeArrowheads="1"/>
                </p:cNvSpPr>
                <p:nvPr/>
              </p:nvSpPr>
              <p:spPr bwMode="auto">
                <a:xfrm>
                  <a:off x="542" y="3277"/>
                  <a:ext cx="448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sz="1300" dirty="0" err="1">
                      <a:solidFill>
                        <a:prstClr val="black"/>
                      </a:solidFill>
                      <a:latin typeface="Times New Roman" pitchFamily="18" charset="0"/>
                      <a:cs typeface="Times New Roman" pitchFamily="18" charset="0"/>
                    </a:rPr>
                    <a:t>Торопецкий</a:t>
                  </a:r>
                  <a:endParaRPr lang="ru-RU" sz="1400" dirty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6" name="Rectangle 192"/>
                <p:cNvSpPr>
                  <a:spLocks noChangeArrowheads="1"/>
                </p:cNvSpPr>
                <p:nvPr/>
              </p:nvSpPr>
              <p:spPr bwMode="auto">
                <a:xfrm>
                  <a:off x="2527" y="3698"/>
                  <a:ext cx="438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Зубцо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7" name="Rectangle 195"/>
                <p:cNvSpPr>
                  <a:spLocks noChangeArrowheads="1"/>
                </p:cNvSpPr>
                <p:nvPr/>
              </p:nvSpPr>
              <p:spPr bwMode="auto">
                <a:xfrm>
                  <a:off x="1722" y="3510"/>
                  <a:ext cx="516" cy="286"/>
                </a:xfrm>
                <a:prstGeom prst="rect">
                  <a:avLst/>
                </a:prstGeom>
                <a:noFill/>
                <a:ln w="0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Оленин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8" name="Rectangle 201"/>
                <p:cNvSpPr>
                  <a:spLocks noChangeArrowheads="1"/>
                </p:cNvSpPr>
                <p:nvPr/>
              </p:nvSpPr>
              <p:spPr bwMode="auto">
                <a:xfrm>
                  <a:off x="684" y="3507"/>
                  <a:ext cx="709" cy="2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 err="1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Западнодвинский</a:t>
                  </a:r>
                  <a:r>
                    <a:rPr lang="ru-RU" altLang="ru-RU" sz="32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9" name="Rectangle 204"/>
                <p:cNvSpPr>
                  <a:spLocks noChangeArrowheads="1"/>
                </p:cNvSpPr>
                <p:nvPr/>
              </p:nvSpPr>
              <p:spPr bwMode="auto">
                <a:xfrm>
                  <a:off x="953" y="3921"/>
                  <a:ext cx="457" cy="11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defRPr/>
                  </a:pPr>
                  <a:r>
                    <a:rPr lang="ru-RU" altLang="ru-RU" sz="13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Жарковский</a:t>
                  </a:r>
                  <a:endParaRPr lang="ru-RU" altLang="ru-RU" sz="8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86" name="Rectangle 208"/>
              <p:cNvSpPr>
                <a:spLocks noChangeArrowheads="1"/>
              </p:cNvSpPr>
              <p:nvPr/>
            </p:nvSpPr>
            <p:spPr bwMode="auto">
              <a:xfrm>
                <a:off x="1469" y="3998"/>
                <a:ext cx="348" cy="1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ru-RU" altLang="ru-RU" sz="13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Бельский</a:t>
                </a:r>
                <a:endParaRPr lang="ru-RU" altLang="ru-RU" sz="8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7" name="Rectangle 211"/>
              <p:cNvSpPr>
                <a:spLocks noChangeArrowheads="1"/>
              </p:cNvSpPr>
              <p:nvPr/>
            </p:nvSpPr>
            <p:spPr bwMode="auto">
              <a:xfrm>
                <a:off x="3104" y="3164"/>
                <a:ext cx="367" cy="1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>
                  <a:defRPr/>
                </a:pPr>
                <a:r>
                  <a:rPr lang="ru-RU" altLang="ru-RU" sz="13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г.Тверь</a:t>
                </a:r>
                <a:endParaRPr lang="ru-RU" altLang="ru-RU" sz="8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8" name="Rectangle 298"/>
              <p:cNvSpPr>
                <a:spLocks noChangeArrowheads="1"/>
              </p:cNvSpPr>
              <p:nvPr/>
            </p:nvSpPr>
            <p:spPr bwMode="auto">
              <a:xfrm>
                <a:off x="1191" y="3197"/>
                <a:ext cx="0" cy="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endParaRPr lang="ru-RU" altLang="ru-RU" sz="8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9" name="Rectangle 208"/>
              <p:cNvSpPr>
                <a:spLocks noChangeArrowheads="1"/>
              </p:cNvSpPr>
              <p:nvPr/>
            </p:nvSpPr>
            <p:spPr bwMode="auto">
              <a:xfrm>
                <a:off x="1257" y="3541"/>
                <a:ext cx="512" cy="1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ru-RU" altLang="ru-RU" sz="1300" dirty="0" err="1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Нелидовский</a:t>
                </a:r>
                <a:endParaRPr lang="ru-RU" altLang="ru-RU" sz="8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76" name="Блок-схема: узел 75">
              <a:extLst>
                <a:ext uri="{FF2B5EF4-FFF2-40B4-BE49-F238E27FC236}">
                  <a16:creationId xmlns="" xmlns:a16="http://schemas.microsoft.com/office/drawing/2014/main" id="{D2EE7411-56E2-4F6B-9CF0-B68C8FEBADD5}"/>
                </a:ext>
              </a:extLst>
            </p:cNvPr>
            <p:cNvSpPr/>
            <p:nvPr/>
          </p:nvSpPr>
          <p:spPr>
            <a:xfrm>
              <a:off x="5214004" y="5683279"/>
              <a:ext cx="174805" cy="157047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Блок-схема: узел 76">
              <a:extLst>
                <a:ext uri="{FF2B5EF4-FFF2-40B4-BE49-F238E27FC236}">
                  <a16:creationId xmlns="" xmlns:a16="http://schemas.microsoft.com/office/drawing/2014/main" id="{D2EE7411-56E2-4F6B-9CF0-B68C8FEBADD5}"/>
                </a:ext>
              </a:extLst>
            </p:cNvPr>
            <p:cNvSpPr/>
            <p:nvPr/>
          </p:nvSpPr>
          <p:spPr>
            <a:xfrm>
              <a:off x="10414225" y="2101410"/>
              <a:ext cx="174805" cy="157047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Блок-схема: узел 77">
              <a:extLst>
                <a:ext uri="{FF2B5EF4-FFF2-40B4-BE49-F238E27FC236}">
                  <a16:creationId xmlns="" xmlns:a16="http://schemas.microsoft.com/office/drawing/2014/main" id="{D2EE7411-56E2-4F6B-9CF0-B68C8FEBADD5}"/>
                </a:ext>
              </a:extLst>
            </p:cNvPr>
            <p:cNvSpPr/>
            <p:nvPr/>
          </p:nvSpPr>
          <p:spPr>
            <a:xfrm>
              <a:off x="10375603" y="4345907"/>
              <a:ext cx="174805" cy="157047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Блок-схема: узел 79">
              <a:extLst>
                <a:ext uri="{FF2B5EF4-FFF2-40B4-BE49-F238E27FC236}">
                  <a16:creationId xmlns="" xmlns:a16="http://schemas.microsoft.com/office/drawing/2014/main" id="{D2EE7411-56E2-4F6B-9CF0-B68C8FEBADD5}"/>
                </a:ext>
              </a:extLst>
            </p:cNvPr>
            <p:cNvSpPr/>
            <p:nvPr/>
          </p:nvSpPr>
          <p:spPr>
            <a:xfrm>
              <a:off x="6896802" y="4245523"/>
              <a:ext cx="174805" cy="157047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Блок-схема: узел 82">
              <a:extLst>
                <a:ext uri="{FF2B5EF4-FFF2-40B4-BE49-F238E27FC236}">
                  <a16:creationId xmlns="" xmlns:a16="http://schemas.microsoft.com/office/drawing/2014/main" id="{D2EE7411-56E2-4F6B-9CF0-B68C8FEBADD5}"/>
                </a:ext>
              </a:extLst>
            </p:cNvPr>
            <p:cNvSpPr/>
            <p:nvPr/>
          </p:nvSpPr>
          <p:spPr>
            <a:xfrm>
              <a:off x="6721923" y="2385422"/>
              <a:ext cx="174805" cy="157047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1" name="Блок-схема: узел 160">
              <a:extLst>
                <a:ext uri="{FF2B5EF4-FFF2-40B4-BE49-F238E27FC236}">
                  <a16:creationId xmlns="" xmlns:a16="http://schemas.microsoft.com/office/drawing/2014/main" id="{D2EE7411-56E2-4F6B-9CF0-B68C8FEBADD5}"/>
                </a:ext>
              </a:extLst>
            </p:cNvPr>
            <p:cNvSpPr/>
            <p:nvPr/>
          </p:nvSpPr>
          <p:spPr>
            <a:xfrm>
              <a:off x="8855183" y="4624955"/>
              <a:ext cx="174805" cy="157047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4" name="Блок-схема: узел 163">
              <a:extLst>
                <a:ext uri="{FF2B5EF4-FFF2-40B4-BE49-F238E27FC236}">
                  <a16:creationId xmlns="" xmlns:a16="http://schemas.microsoft.com/office/drawing/2014/main" id="{D2EE7411-56E2-4F6B-9CF0-B68C8FEBADD5}"/>
                </a:ext>
              </a:extLst>
            </p:cNvPr>
            <p:cNvSpPr/>
            <p:nvPr/>
          </p:nvSpPr>
          <p:spPr>
            <a:xfrm>
              <a:off x="9404833" y="5046502"/>
              <a:ext cx="174805" cy="157047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8" name="Блок-схема: узел 167">
              <a:extLst>
                <a:ext uri="{FF2B5EF4-FFF2-40B4-BE49-F238E27FC236}">
                  <a16:creationId xmlns="" xmlns:a16="http://schemas.microsoft.com/office/drawing/2014/main" id="{D2EE7411-56E2-4F6B-9CF0-B68C8FEBADD5}"/>
                </a:ext>
              </a:extLst>
            </p:cNvPr>
            <p:cNvSpPr/>
            <p:nvPr/>
          </p:nvSpPr>
          <p:spPr>
            <a:xfrm>
              <a:off x="8855183" y="4299065"/>
              <a:ext cx="174805" cy="157047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7" name="Заголовок 20">
            <a:extLst>
              <a:ext uri="{FF2B5EF4-FFF2-40B4-BE49-F238E27FC236}">
                <a16:creationId xmlns="" xmlns:a16="http://schemas.microsoft.com/office/drawing/2014/main" id="{F1FE4413-6FE7-485D-B267-8379B8401D88}"/>
              </a:ext>
            </a:extLst>
          </p:cNvPr>
          <p:cNvSpPr txBox="1">
            <a:spLocks/>
          </p:cNvSpPr>
          <p:nvPr/>
        </p:nvSpPr>
        <p:spPr bwMode="auto">
          <a:xfrm>
            <a:off x="782262" y="4481"/>
            <a:ext cx="10377917" cy="772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6393" tIns="33197" rIns="66393" bIns="33197" anchor="ctr"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rgbClr val="A8800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ОБЪЕКТЫ НАКОПЛЕННОГО ВРЕДА</a:t>
            </a:r>
            <a:endParaRPr lang="ru-RU" sz="2000" b="1" dirty="0">
              <a:solidFill>
                <a:srgbClr val="A88000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Облачко с текстом: прямоугольное со скругленными углами 4">
            <a:extLst>
              <a:ext uri="{FF2B5EF4-FFF2-40B4-BE49-F238E27FC236}">
                <a16:creationId xmlns="" xmlns:a16="http://schemas.microsoft.com/office/drawing/2014/main" id="{8635C982-5645-4A61-B709-FABCC4C2A7A4}"/>
              </a:ext>
            </a:extLst>
          </p:cNvPr>
          <p:cNvSpPr/>
          <p:nvPr/>
        </p:nvSpPr>
        <p:spPr>
          <a:xfrm>
            <a:off x="8620099" y="4922322"/>
            <a:ext cx="3454377" cy="693619"/>
          </a:xfrm>
          <a:prstGeom prst="wedgeRoundRectCallout">
            <a:avLst>
              <a:gd name="adj1" fmla="val -17190"/>
              <a:gd name="adj2" fmla="val -47866"/>
              <a:gd name="adj3" fmla="val 16667"/>
            </a:avLst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Кимры 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6,7 га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44 760 чел. </a:t>
            </a:r>
          </a:p>
        </p:txBody>
      </p:sp>
      <p:sp>
        <p:nvSpPr>
          <p:cNvPr id="59" name="Облачко с текстом: прямоугольное со скругленными углами 58">
            <a:extLst>
              <a:ext uri="{FF2B5EF4-FFF2-40B4-BE49-F238E27FC236}">
                <a16:creationId xmlns="" xmlns:a16="http://schemas.microsoft.com/office/drawing/2014/main" id="{DD065975-B0AD-4E39-A121-92D7AB572D21}"/>
              </a:ext>
            </a:extLst>
          </p:cNvPr>
          <p:cNvSpPr/>
          <p:nvPr/>
        </p:nvSpPr>
        <p:spPr>
          <a:xfrm>
            <a:off x="428626" y="4040996"/>
            <a:ext cx="3464778" cy="674930"/>
          </a:xfrm>
          <a:prstGeom prst="wedgeRoundRectCallout">
            <a:avLst>
              <a:gd name="adj1" fmla="val -16553"/>
              <a:gd name="adj2" fmla="val -49884"/>
              <a:gd name="adj3" fmla="val 16667"/>
            </a:avLst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Нелидово 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 6,3 га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18 902 чел. </a:t>
            </a:r>
          </a:p>
        </p:txBody>
      </p:sp>
      <p:sp>
        <p:nvSpPr>
          <p:cNvPr id="60" name="Облачко с текстом: прямоугольное со скругленными углами 59">
            <a:extLst>
              <a:ext uri="{FF2B5EF4-FFF2-40B4-BE49-F238E27FC236}">
                <a16:creationId xmlns="" xmlns:a16="http://schemas.microsoft.com/office/drawing/2014/main" id="{8FEE5D18-CE7F-4BE7-98B3-CAA292293FA8}"/>
              </a:ext>
            </a:extLst>
          </p:cNvPr>
          <p:cNvSpPr/>
          <p:nvPr/>
        </p:nvSpPr>
        <p:spPr>
          <a:xfrm>
            <a:off x="873604" y="3366948"/>
            <a:ext cx="3344571" cy="597587"/>
          </a:xfrm>
          <a:prstGeom prst="wedgeRoundRectCallout">
            <a:avLst>
              <a:gd name="adj1" fmla="val -16680"/>
              <a:gd name="adj2" fmla="val -51045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Кувшиново*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2,1 га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9 706 чел. </a:t>
            </a:r>
          </a:p>
        </p:txBody>
      </p:sp>
      <p:sp>
        <p:nvSpPr>
          <p:cNvPr id="61" name="Облачко с текстом: прямоугольное со скругленными углами 60">
            <a:extLst>
              <a:ext uri="{FF2B5EF4-FFF2-40B4-BE49-F238E27FC236}">
                <a16:creationId xmlns="" xmlns:a16="http://schemas.microsoft.com/office/drawing/2014/main" id="{D1B075E9-9654-4A6E-8B92-86001A105097}"/>
              </a:ext>
            </a:extLst>
          </p:cNvPr>
          <p:cNvSpPr/>
          <p:nvPr/>
        </p:nvSpPr>
        <p:spPr>
          <a:xfrm>
            <a:off x="2519711" y="1308116"/>
            <a:ext cx="3720291" cy="602989"/>
          </a:xfrm>
          <a:prstGeom prst="wedgeRoundRectCallout">
            <a:avLst>
              <a:gd name="adj1" fmla="val -13920"/>
              <a:gd name="adj2" fmla="val -36913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Бологое 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5,7 га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23 546 чел. </a:t>
            </a:r>
          </a:p>
        </p:txBody>
      </p:sp>
      <p:sp>
        <p:nvSpPr>
          <p:cNvPr id="62" name="Облачко с текстом: прямоугольное со скругленными углами 61">
            <a:extLst>
              <a:ext uri="{FF2B5EF4-FFF2-40B4-BE49-F238E27FC236}">
                <a16:creationId xmlns="" xmlns:a16="http://schemas.microsoft.com/office/drawing/2014/main" id="{F5BD61C1-047C-49A3-89B7-F51ADD837D29}"/>
              </a:ext>
            </a:extLst>
          </p:cNvPr>
          <p:cNvSpPr/>
          <p:nvPr/>
        </p:nvSpPr>
        <p:spPr>
          <a:xfrm>
            <a:off x="2519710" y="657853"/>
            <a:ext cx="3724353" cy="580397"/>
          </a:xfrm>
          <a:prstGeom prst="wedgeRoundRectCallout">
            <a:avLst>
              <a:gd name="adj1" fmla="val -16337"/>
              <a:gd name="adj2" fmla="val -51045"/>
              <a:gd name="adj3" fmla="val 16667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 fontAlgn="b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Красный Холм 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4,0 га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5 141 чел. </a:t>
            </a:r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="" xmlns:a16="http://schemas.microsoft.com/office/drawing/2014/main" id="{FE849AA6-8553-4FB3-A8E6-6C1A7C2A0C56}"/>
              </a:ext>
            </a:extLst>
          </p:cNvPr>
          <p:cNvCxnSpPr>
            <a:cxnSpLocks/>
            <a:stCxn id="83" idx="2"/>
            <a:endCxn id="61" idx="3"/>
          </p:cNvCxnSpPr>
          <p:nvPr/>
        </p:nvCxnSpPr>
        <p:spPr>
          <a:xfrm flipH="1" flipV="1">
            <a:off x="6240002" y="1609611"/>
            <a:ext cx="803939" cy="547449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>
            <a:extLst>
              <a:ext uri="{FF2B5EF4-FFF2-40B4-BE49-F238E27FC236}">
                <a16:creationId xmlns="" xmlns:a16="http://schemas.microsoft.com/office/drawing/2014/main" id="{C6A26D71-E66A-42B2-8FA8-6C849499BFFC}"/>
              </a:ext>
            </a:extLst>
          </p:cNvPr>
          <p:cNvCxnSpPr>
            <a:cxnSpLocks/>
            <a:stCxn id="80" idx="3"/>
            <a:endCxn id="60" idx="3"/>
          </p:cNvCxnSpPr>
          <p:nvPr/>
        </p:nvCxnSpPr>
        <p:spPr>
          <a:xfrm flipH="1" flipV="1">
            <a:off x="4218175" y="3665742"/>
            <a:ext cx="3014727" cy="331784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="" xmlns:a16="http://schemas.microsoft.com/office/drawing/2014/main" id="{B886A0C8-2384-408B-B145-67748CFAE93F}"/>
              </a:ext>
            </a:extLst>
          </p:cNvPr>
          <p:cNvCxnSpPr>
            <a:cxnSpLocks/>
            <a:stCxn id="76" idx="2"/>
            <a:endCxn id="59" idx="3"/>
          </p:cNvCxnSpPr>
          <p:nvPr/>
        </p:nvCxnSpPr>
        <p:spPr>
          <a:xfrm flipH="1" flipV="1">
            <a:off x="3893404" y="4378461"/>
            <a:ext cx="1729250" cy="947066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="" xmlns:a16="http://schemas.microsoft.com/office/drawing/2014/main" id="{1853EF7A-ACD3-4532-86EA-F9BED5741F60}"/>
              </a:ext>
            </a:extLst>
          </p:cNvPr>
          <p:cNvCxnSpPr>
            <a:cxnSpLocks/>
            <a:stCxn id="77" idx="2"/>
            <a:endCxn id="62" idx="3"/>
          </p:cNvCxnSpPr>
          <p:nvPr/>
        </p:nvCxnSpPr>
        <p:spPr>
          <a:xfrm flipH="1" flipV="1">
            <a:off x="6244063" y="948052"/>
            <a:ext cx="4280050" cy="936139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="" xmlns:a16="http://schemas.microsoft.com/office/drawing/2014/main" id="{4102AD52-09F7-488E-831A-69750A9D60DA}"/>
              </a:ext>
            </a:extLst>
          </p:cNvPr>
          <p:cNvCxnSpPr>
            <a:cxnSpLocks/>
            <a:stCxn id="78" idx="3"/>
            <a:endCxn id="5" idx="0"/>
          </p:cNvCxnSpPr>
          <p:nvPr/>
        </p:nvCxnSpPr>
        <p:spPr>
          <a:xfrm flipH="1">
            <a:off x="10347288" y="4093971"/>
            <a:ext cx="164551" cy="828351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Облачко с текстом: прямоугольное со скругленными углами 58">
            <a:extLst>
              <a:ext uri="{FF2B5EF4-FFF2-40B4-BE49-F238E27FC236}">
                <a16:creationId xmlns="" xmlns:a16="http://schemas.microsoft.com/office/drawing/2014/main" id="{DD065975-B0AD-4E39-A121-92D7AB572D21}"/>
              </a:ext>
            </a:extLst>
          </p:cNvPr>
          <p:cNvSpPr/>
          <p:nvPr/>
        </p:nvSpPr>
        <p:spPr>
          <a:xfrm>
            <a:off x="2044705" y="1980591"/>
            <a:ext cx="3644908" cy="604483"/>
          </a:xfrm>
          <a:prstGeom prst="wedgeRoundRectCallout">
            <a:avLst>
              <a:gd name="adj1" fmla="val -16553"/>
              <a:gd name="adj2" fmla="val -49884"/>
              <a:gd name="adj3" fmla="val 16667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Фирово 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 2,5 га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1 973 чел. </a:t>
            </a:r>
          </a:p>
        </p:txBody>
      </p:sp>
      <p:sp>
        <p:nvSpPr>
          <p:cNvPr id="30" name="Облачко с текстом: прямоугольное со скругленными углами 58">
            <a:extLst>
              <a:ext uri="{FF2B5EF4-FFF2-40B4-BE49-F238E27FC236}">
                <a16:creationId xmlns="" xmlns:a16="http://schemas.microsoft.com/office/drawing/2014/main" id="{DD065975-B0AD-4E39-A121-92D7AB572D21}"/>
              </a:ext>
            </a:extLst>
          </p:cNvPr>
          <p:cNvSpPr/>
          <p:nvPr/>
        </p:nvSpPr>
        <p:spPr>
          <a:xfrm>
            <a:off x="1200039" y="2654167"/>
            <a:ext cx="3457231" cy="643795"/>
          </a:xfrm>
          <a:prstGeom prst="wedgeRoundRectCallout">
            <a:avLst>
              <a:gd name="adj1" fmla="val -16553"/>
              <a:gd name="adj2" fmla="val -49884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Спирово*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  2,0 га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5 811 чел.</a:t>
            </a:r>
          </a:p>
        </p:txBody>
      </p:sp>
      <p:cxnSp>
        <p:nvCxnSpPr>
          <p:cNvPr id="58" name="Прямая со стрелкой 57">
            <a:extLst>
              <a:ext uri="{FF2B5EF4-FFF2-40B4-BE49-F238E27FC236}">
                <a16:creationId xmlns="" xmlns:a16="http://schemas.microsoft.com/office/drawing/2014/main" id="{B886A0C8-2384-408B-B145-67748CFAE93F}"/>
              </a:ext>
            </a:extLst>
          </p:cNvPr>
          <p:cNvCxnSpPr>
            <a:cxnSpLocks/>
            <a:stCxn id="64" idx="2"/>
            <a:endCxn id="29" idx="3"/>
          </p:cNvCxnSpPr>
          <p:nvPr/>
        </p:nvCxnSpPr>
        <p:spPr>
          <a:xfrm flipH="1" flipV="1">
            <a:off x="5689613" y="2282833"/>
            <a:ext cx="945288" cy="568942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Блок-схема: узел 63">
            <a:extLst>
              <a:ext uri="{FF2B5EF4-FFF2-40B4-BE49-F238E27FC236}">
                <a16:creationId xmlns="" xmlns:a16="http://schemas.microsoft.com/office/drawing/2014/main" id="{4C6E79A5-DF49-46CF-B0BA-6F6CD4689ED5}"/>
              </a:ext>
            </a:extLst>
          </p:cNvPr>
          <p:cNvSpPr/>
          <p:nvPr/>
        </p:nvSpPr>
        <p:spPr>
          <a:xfrm>
            <a:off x="6634901" y="2786188"/>
            <a:ext cx="147204" cy="131173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45" tIns="44123" rIns="88245" bIns="44123" rtlCol="0" anchor="ctr"/>
          <a:lstStyle/>
          <a:p>
            <a:pPr algn="ctr" defTabSz="663910">
              <a:defRPr/>
            </a:pPr>
            <a:endParaRPr lang="ru-RU" sz="24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5" name="Блок-схема: узел 64">
            <a:extLst>
              <a:ext uri="{FF2B5EF4-FFF2-40B4-BE49-F238E27FC236}">
                <a16:creationId xmlns="" xmlns:a16="http://schemas.microsoft.com/office/drawing/2014/main" id="{4C6E79A5-DF49-46CF-B0BA-6F6CD4689ED5}"/>
              </a:ext>
            </a:extLst>
          </p:cNvPr>
          <p:cNvSpPr/>
          <p:nvPr/>
        </p:nvSpPr>
        <p:spPr>
          <a:xfrm>
            <a:off x="8251216" y="3151254"/>
            <a:ext cx="132528" cy="145208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45" tIns="44123" rIns="88245" bIns="44123" rtlCol="0" anchor="ctr"/>
          <a:lstStyle/>
          <a:p>
            <a:pPr algn="ctr" defTabSz="663910">
              <a:defRPr/>
            </a:pPr>
            <a:endParaRPr lang="ru-RU" sz="240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63" name="Прямая со стрелкой 62">
            <a:extLst>
              <a:ext uri="{FF2B5EF4-FFF2-40B4-BE49-F238E27FC236}">
                <a16:creationId xmlns="" xmlns:a16="http://schemas.microsoft.com/office/drawing/2014/main" id="{C6A26D71-E66A-42B2-8FA8-6C849499BFFC}"/>
              </a:ext>
            </a:extLst>
          </p:cNvPr>
          <p:cNvCxnSpPr>
            <a:cxnSpLocks/>
            <a:stCxn id="65" idx="2"/>
            <a:endCxn id="30" idx="3"/>
          </p:cNvCxnSpPr>
          <p:nvPr/>
        </p:nvCxnSpPr>
        <p:spPr>
          <a:xfrm flipH="1" flipV="1">
            <a:off x="4657270" y="2976065"/>
            <a:ext cx="3593946" cy="247793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4204761" y="6488958"/>
            <a:ext cx="53124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>
                <a:latin typeface="Times New Roman" pitchFamily="18" charset="0"/>
                <a:cs typeface="Times New Roman" pitchFamily="18" charset="0"/>
              </a:rPr>
              <a:t>* Необходимо включение объектов в федеральный проект</a:t>
            </a:r>
          </a:p>
        </p:txBody>
      </p:sp>
      <p:sp>
        <p:nvSpPr>
          <p:cNvPr id="36" name="Номер слайда 3"/>
          <p:cNvSpPr txBox="1">
            <a:spLocks/>
          </p:cNvSpPr>
          <p:nvPr/>
        </p:nvSpPr>
        <p:spPr>
          <a:xfrm>
            <a:off x="11787614" y="6492876"/>
            <a:ext cx="404388" cy="365125"/>
          </a:xfrm>
          <a:prstGeom prst="rect">
            <a:avLst/>
          </a:prstGeom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E716BDD-ECB7-4C86-83A2-DDBB799AEF99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2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6" name="Рисунок 1">
            <a:extLst>
              <a:ext uri="{FF2B5EF4-FFF2-40B4-BE49-F238E27FC236}">
                <a16:creationId xmlns="" xmlns:a16="http://schemas.microsoft.com/office/drawing/2014/main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  <p:sp>
        <p:nvSpPr>
          <p:cNvPr id="160" name="Облачко с текстом: прямоугольное со скругленными углами 4">
            <a:extLst>
              <a:ext uri="{FF2B5EF4-FFF2-40B4-BE49-F238E27FC236}">
                <a16:creationId xmlns="" xmlns:a16="http://schemas.microsoft.com/office/drawing/2014/main" id="{8635C982-5645-4A61-B709-FABCC4C2A7A4}"/>
              </a:ext>
            </a:extLst>
          </p:cNvPr>
          <p:cNvSpPr/>
          <p:nvPr/>
        </p:nvSpPr>
        <p:spPr>
          <a:xfrm>
            <a:off x="547462" y="4804255"/>
            <a:ext cx="3577653" cy="811686"/>
          </a:xfrm>
          <a:prstGeom prst="wedgeRoundRectCallout">
            <a:avLst>
              <a:gd name="adj1" fmla="val -17190"/>
              <a:gd name="adj2" fmla="val -47866"/>
              <a:gd name="adj3" fmla="val 16667"/>
            </a:avLst>
          </a:prstGeom>
          <a:solidFill>
            <a:schemeClr val="accent4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>
              <a:lnSpc>
                <a:spcPts val="1500"/>
              </a:lnSpc>
              <a:defRPr/>
            </a:pP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лининский район </a:t>
            </a:r>
            <a:b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3 км </a:t>
            </a:r>
            <a:r>
              <a:rPr lang="ru-RU" sz="1600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жецкого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шоссе)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,7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70 126 чел. 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2" name="Прямая со стрелкой 161">
            <a:extLst>
              <a:ext uri="{FF2B5EF4-FFF2-40B4-BE49-F238E27FC236}">
                <a16:creationId xmlns="" xmlns:a16="http://schemas.microsoft.com/office/drawing/2014/main" id="{C6A26D71-E66A-42B2-8FA8-6C849499BFFC}"/>
              </a:ext>
            </a:extLst>
          </p:cNvPr>
          <p:cNvCxnSpPr>
            <a:cxnSpLocks/>
            <a:stCxn id="168" idx="3"/>
            <a:endCxn id="158" idx="1"/>
          </p:cNvCxnSpPr>
          <p:nvPr/>
        </p:nvCxnSpPr>
        <p:spPr>
          <a:xfrm flipH="1">
            <a:off x="4165348" y="4048967"/>
            <a:ext cx="4913422" cy="1178628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Облачко с текстом: прямоугольное со скругленными углами 4">
            <a:extLst>
              <a:ext uri="{FF2B5EF4-FFF2-40B4-BE49-F238E27FC236}">
                <a16:creationId xmlns="" xmlns:a16="http://schemas.microsoft.com/office/drawing/2014/main" id="{8635C982-5645-4A61-B709-FABCC4C2A7A4}"/>
              </a:ext>
            </a:extLst>
          </p:cNvPr>
          <p:cNvSpPr/>
          <p:nvPr/>
        </p:nvSpPr>
        <p:spPr>
          <a:xfrm>
            <a:off x="6486771" y="5765358"/>
            <a:ext cx="3488307" cy="613357"/>
          </a:xfrm>
          <a:prstGeom prst="wedgeRoundRectCallout">
            <a:avLst>
              <a:gd name="adj1" fmla="val -17190"/>
              <a:gd name="adj2" fmla="val -47866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>
              <a:lnSpc>
                <a:spcPts val="1500"/>
              </a:lnSpc>
              <a:defRPr/>
            </a:pP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аковский район (д. </a:t>
            </a:r>
            <a:r>
              <a:rPr lang="ru-RU" sz="1600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орново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*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,1 га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1 147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. </a:t>
            </a:r>
          </a:p>
        </p:txBody>
      </p:sp>
      <p:cxnSp>
        <p:nvCxnSpPr>
          <p:cNvPr id="165" name="Прямая со стрелкой 164">
            <a:extLst>
              <a:ext uri="{FF2B5EF4-FFF2-40B4-BE49-F238E27FC236}">
                <a16:creationId xmlns="" xmlns:a16="http://schemas.microsoft.com/office/drawing/2014/main" id="{4102AD52-09F7-488E-831A-69750A9D60DA}"/>
              </a:ext>
            </a:extLst>
          </p:cNvPr>
          <p:cNvCxnSpPr>
            <a:cxnSpLocks/>
          </p:cNvCxnSpPr>
          <p:nvPr/>
        </p:nvCxnSpPr>
        <p:spPr>
          <a:xfrm flipH="1">
            <a:off x="7820393" y="4758441"/>
            <a:ext cx="1810828" cy="1034406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Облачко с текстом: прямоугольное со скругленными углами 4">
            <a:extLst>
              <a:ext uri="{FF2B5EF4-FFF2-40B4-BE49-F238E27FC236}">
                <a16:creationId xmlns="" xmlns:a16="http://schemas.microsoft.com/office/drawing/2014/main" id="{8635C982-5645-4A61-B709-FABCC4C2A7A4}"/>
              </a:ext>
            </a:extLst>
          </p:cNvPr>
          <p:cNvSpPr/>
          <p:nvPr/>
        </p:nvSpPr>
        <p:spPr>
          <a:xfrm>
            <a:off x="744584" y="5702682"/>
            <a:ext cx="3704313" cy="812678"/>
          </a:xfrm>
          <a:prstGeom prst="wedgeRoundRectCallout">
            <a:avLst>
              <a:gd name="adj1" fmla="val -17190"/>
              <a:gd name="adj2" fmla="val -47866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528" tIns="44264" rIns="88528" bIns="44264" rtlCol="0" anchor="ctr"/>
          <a:lstStyle/>
          <a:p>
            <a:pPr algn="ctr" defTabSz="663910">
              <a:lnSpc>
                <a:spcPts val="1500"/>
              </a:lnSpc>
              <a:defRPr/>
            </a:pP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верь, Большие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мерки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*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600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щламонакопитель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–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,3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</a:t>
            </a:r>
          </a:p>
          <a:p>
            <a:pPr algn="ctr" defTabSz="663910">
              <a:lnSpc>
                <a:spcPts val="15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населения – 425 072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. 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7" name="Прямая со стрелкой 166">
            <a:extLst>
              <a:ext uri="{FF2B5EF4-FFF2-40B4-BE49-F238E27FC236}">
                <a16:creationId xmlns="" xmlns:a16="http://schemas.microsoft.com/office/drawing/2014/main" id="{C6A26D71-E66A-42B2-8FA8-6C849499BFFC}"/>
              </a:ext>
            </a:extLst>
          </p:cNvPr>
          <p:cNvCxnSpPr>
            <a:cxnSpLocks/>
            <a:stCxn id="161" idx="2"/>
          </p:cNvCxnSpPr>
          <p:nvPr/>
        </p:nvCxnSpPr>
        <p:spPr>
          <a:xfrm flipH="1">
            <a:off x="4441007" y="4308726"/>
            <a:ext cx="4613634" cy="1795866"/>
          </a:xfrm>
          <a:prstGeom prst="straightConnector1">
            <a:avLst/>
          </a:prstGeom>
          <a:ln w="158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69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="" xmlns:a16="http://schemas.microsoft.com/office/drawing/2014/main" id="{39C0C961-731F-4B9A-80A6-98BB3CC971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6200" y="2448994"/>
            <a:ext cx="1258093" cy="282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ЗАДАЧИ: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03700" y="2862651"/>
            <a:ext cx="6794943" cy="83099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ЗОЛЯЦИЯ </a:t>
            </a:r>
            <a:br>
              <a:rPr lang="ru-R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копленного вреда от атмосферных осадко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001856" y="3999591"/>
            <a:ext cx="6798627" cy="120032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ЕДОТВРАЩЕНИЕ </a:t>
            </a:r>
          </a:p>
          <a:p>
            <a:r>
              <a:rPr lang="ru-R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агрязнения подземных вод и грунтов </a:t>
            </a:r>
            <a:r>
              <a:rPr 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утем создания противофильтрационной завесы</a:t>
            </a:r>
            <a:endParaRPr lang="ru-RU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6201" y="5252642"/>
            <a:ext cx="6798627" cy="120032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ЕШЕНИЕ ПРОБЛЕМЫ ЗАПАХА</a:t>
            </a:r>
          </a:p>
          <a:p>
            <a:r>
              <a:rPr lang="ru-R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нижение </a:t>
            </a:r>
            <a:r>
              <a:rPr lang="ru-R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жароопасности</a:t>
            </a:r>
            <a:r>
              <a:rPr lang="ru-R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бъекта с помощью системы дегазации</a:t>
            </a:r>
            <a:endParaRPr lang="ru-RU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="" xmlns:a16="http://schemas.microsoft.com/office/drawing/2014/main" id="{A1248489-AB03-42B0-B623-46F87248D3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2627" y="224991"/>
            <a:ext cx="8048960" cy="486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>
                <a:solidFill>
                  <a:srgbClr val="C58F0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>
                <a:solidFill>
                  <a:srgbClr val="A88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РЕКУЛЬТИВАЦИЯ СВАЛОК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436B2627-DEED-427E-B24E-6876BF88689F}"/>
              </a:ext>
            </a:extLst>
          </p:cNvPr>
          <p:cNvSpPr txBox="1"/>
          <p:nvPr/>
        </p:nvSpPr>
        <p:spPr>
          <a:xfrm>
            <a:off x="1000016" y="968132"/>
            <a:ext cx="10451029" cy="1138773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:</a:t>
            </a: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сстановление свойств земель, нарушенных человеком для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ледующего</a:t>
            </a:r>
            <a:b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х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я и улучшения экологического состояния окружающей среды</a:t>
            </a:r>
          </a:p>
        </p:txBody>
      </p:sp>
      <p:pic>
        <p:nvPicPr>
          <p:cNvPr id="1026" name="Picture 2" descr="C:\Users\Лактионов\Desktop\T_p0hSoS7lM-1200x80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2802" y="4297428"/>
            <a:ext cx="3837676" cy="1836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Лактионов\Desktop\2019-11-18 15-26-3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2803" y="2154561"/>
            <a:ext cx="3837676" cy="1985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">
            <a:extLst>
              <a:ext uri="{FF2B5EF4-FFF2-40B4-BE49-F238E27FC236}">
                <a16:creationId xmlns="" xmlns:a16="http://schemas.microsoft.com/office/drawing/2014/main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5"/>
            <a:ext cx="756000" cy="938483"/>
          </a:xfrm>
          <a:prstGeom prst="rect">
            <a:avLst/>
          </a:prstGeom>
          <a:noFill/>
        </p:spPr>
      </p:pic>
      <p:sp>
        <p:nvSpPr>
          <p:cNvPr id="1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323211" y="6476368"/>
            <a:ext cx="2844800" cy="365125"/>
          </a:xfrm>
        </p:spPr>
        <p:txBody>
          <a:bodyPr/>
          <a:lstStyle/>
          <a:p>
            <a:fld id="{8BCAE78C-48F3-4E15-97DB-5F0DEAB0D077}" type="slidenum">
              <a:rPr lang="ru-RU" sz="16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fld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92329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0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2"/>
            <a:ext cx="211667" cy="15875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ru-RU" sz="3700" dirty="0">
              <a:solidFill>
                <a:srgbClr val="FFFFFF"/>
              </a:solidFill>
              <a:latin typeface="Geometria"/>
              <a:sym typeface="Geometria"/>
            </a:endParaRPr>
          </a:p>
        </p:txBody>
      </p:sp>
      <p:sp>
        <p:nvSpPr>
          <p:cNvPr id="16" name="TextBox 2"/>
          <p:cNvSpPr txBox="1">
            <a:spLocks noChangeArrowheads="1"/>
          </p:cNvSpPr>
          <p:nvPr/>
        </p:nvSpPr>
        <p:spPr bwMode="auto">
          <a:xfrm>
            <a:off x="952245" y="4723505"/>
            <a:ext cx="3625343" cy="27779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47999" tIns="47999" rIns="47999" bIns="47999" anchor="ctr"/>
          <a:lstStyle>
            <a:defPPr>
              <a:defRPr lang="ru-RU"/>
            </a:defPPr>
            <a:lvl1pPr marL="265113">
              <a:defRPr b="1">
                <a:solidFill>
                  <a:schemeClr val="accent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z="21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иологический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304971" y="5155750"/>
            <a:ext cx="4206961" cy="8783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800"/>
              </a:spcBef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готовка почвы,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несение 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добрений </a:t>
            </a:r>
          </a:p>
          <a:p>
            <a:pPr marL="285750" indent="-285750">
              <a:lnSpc>
                <a:spcPct val="90000"/>
              </a:lnSpc>
              <a:spcBef>
                <a:spcPts val="800"/>
              </a:spcBef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ысадка растений (газона)</a:t>
            </a:r>
          </a:p>
        </p:txBody>
      </p: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1143651" y="1571407"/>
            <a:ext cx="3433937" cy="1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1091806" y="5019197"/>
            <a:ext cx="4110952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Рисунок 25">
            <a:extLst>
              <a:ext uri="{FF2B5EF4-FFF2-40B4-BE49-F238E27FC236}">
                <a16:creationId xmlns="" xmlns:a16="http://schemas.microsoft.com/office/drawing/2014/main" id="{5958CA00-4912-46CC-80A4-587750DD31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48319" y="1370195"/>
            <a:ext cx="2876492" cy="1300792"/>
          </a:xfrm>
          <a:prstGeom prst="rect">
            <a:avLst/>
          </a:prstGeom>
        </p:spPr>
      </p:pic>
      <p:pic>
        <p:nvPicPr>
          <p:cNvPr id="42" name="Picture 2" descr="http://geospt.ru/images/3_prev.png">
            <a:extLst>
              <a:ext uri="{FF2B5EF4-FFF2-40B4-BE49-F238E27FC236}">
                <a16:creationId xmlns="" xmlns:a16="http://schemas.microsoft.com/office/drawing/2014/main" id="{307F96BE-3DE3-4182-AD69-B08E3A1A66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28" y="4918592"/>
            <a:ext cx="2041741" cy="137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http://energore.ru/upload/iblock/185/18578450ffbf3e16d83c1966c30a8b61.png">
            <a:extLst>
              <a:ext uri="{FF2B5EF4-FFF2-40B4-BE49-F238E27FC236}">
                <a16:creationId xmlns="" xmlns:a16="http://schemas.microsoft.com/office/drawing/2014/main" id="{AE5CAD3E-81A9-4A8B-8425-11B214BA2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369" y="3292383"/>
            <a:ext cx="5759745" cy="2051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8" name="Прямая соединительная линия 20">
            <a:extLst>
              <a:ext uri="{FF2B5EF4-FFF2-40B4-BE49-F238E27FC236}">
                <a16:creationId xmlns="" xmlns:a16="http://schemas.microsoft.com/office/drawing/2014/main" id="{F9889A08-4A1D-4F9E-ACB3-733B38929D01}"/>
              </a:ext>
            </a:extLst>
          </p:cNvPr>
          <p:cNvCxnSpPr>
            <a:cxnSpLocks/>
            <a:stCxn id="47" idx="3"/>
          </p:cNvCxnSpPr>
          <p:nvPr/>
        </p:nvCxnSpPr>
        <p:spPr>
          <a:xfrm flipH="1">
            <a:off x="7102070" y="2639956"/>
            <a:ext cx="900316" cy="1165193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35" name="Picture 3" descr="U:\Documents\_Templates\Рекультивация\Picture4_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081" y="1490571"/>
            <a:ext cx="1219963" cy="115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7" name="Picture 5" descr="U:\Documents\_Templates\Рекультивация\Picture5_1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8723" y="4873657"/>
            <a:ext cx="2426432" cy="1352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Овал 18">
            <a:extLst>
              <a:ext uri="{FF2B5EF4-FFF2-40B4-BE49-F238E27FC236}">
                <a16:creationId xmlns="" xmlns:a16="http://schemas.microsoft.com/office/drawing/2014/main" id="{CEDA6295-E941-425D-B612-22DD275B11D3}"/>
              </a:ext>
            </a:extLst>
          </p:cNvPr>
          <p:cNvSpPr/>
          <p:nvPr/>
        </p:nvSpPr>
        <p:spPr>
          <a:xfrm>
            <a:off x="9641939" y="2159915"/>
            <a:ext cx="303744" cy="22780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Овал 19">
            <a:extLst>
              <a:ext uri="{FF2B5EF4-FFF2-40B4-BE49-F238E27FC236}">
                <a16:creationId xmlns="" xmlns:a16="http://schemas.microsoft.com/office/drawing/2014/main" id="{BDC56EF2-6972-46FF-85CD-507D71EB6996}"/>
              </a:ext>
            </a:extLst>
          </p:cNvPr>
          <p:cNvSpPr/>
          <p:nvPr/>
        </p:nvSpPr>
        <p:spPr>
          <a:xfrm>
            <a:off x="7957901" y="2445507"/>
            <a:ext cx="303744" cy="22780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0" name="Овал 16">
            <a:extLst>
              <a:ext uri="{FF2B5EF4-FFF2-40B4-BE49-F238E27FC236}">
                <a16:creationId xmlns="" xmlns:a16="http://schemas.microsoft.com/office/drawing/2014/main" id="{15B9591C-7945-466E-9990-97836D2936A6}"/>
              </a:ext>
            </a:extLst>
          </p:cNvPr>
          <p:cNvSpPr/>
          <p:nvPr/>
        </p:nvSpPr>
        <p:spPr>
          <a:xfrm>
            <a:off x="6952781" y="4804687"/>
            <a:ext cx="303744" cy="22780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4</a:t>
            </a:r>
          </a:p>
        </p:txBody>
      </p:sp>
      <p:cxnSp>
        <p:nvCxnSpPr>
          <p:cNvPr id="59" name="Прямая соединительная линия 20">
            <a:extLst>
              <a:ext uri="{FF2B5EF4-FFF2-40B4-BE49-F238E27FC236}">
                <a16:creationId xmlns="" xmlns:a16="http://schemas.microsoft.com/office/drawing/2014/main" id="{F9889A08-4A1D-4F9E-ACB3-733B38929D01}"/>
              </a:ext>
            </a:extLst>
          </p:cNvPr>
          <p:cNvCxnSpPr>
            <a:cxnSpLocks/>
          </p:cNvCxnSpPr>
          <p:nvPr/>
        </p:nvCxnSpPr>
        <p:spPr>
          <a:xfrm flipH="1">
            <a:off x="9227652" y="2387726"/>
            <a:ext cx="526219" cy="1417423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20">
            <a:extLst>
              <a:ext uri="{FF2B5EF4-FFF2-40B4-BE49-F238E27FC236}">
                <a16:creationId xmlns="" xmlns:a16="http://schemas.microsoft.com/office/drawing/2014/main" id="{F9889A08-4A1D-4F9E-ACB3-733B38929D01}"/>
              </a:ext>
            </a:extLst>
          </p:cNvPr>
          <p:cNvCxnSpPr>
            <a:cxnSpLocks/>
          </p:cNvCxnSpPr>
          <p:nvPr/>
        </p:nvCxnSpPr>
        <p:spPr>
          <a:xfrm flipH="1">
            <a:off x="7120413" y="4311996"/>
            <a:ext cx="170323" cy="489149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20">
            <a:extLst>
              <a:ext uri="{FF2B5EF4-FFF2-40B4-BE49-F238E27FC236}">
                <a16:creationId xmlns="" xmlns:a16="http://schemas.microsoft.com/office/drawing/2014/main" id="{F9889A08-4A1D-4F9E-ACB3-733B38929D01}"/>
              </a:ext>
            </a:extLst>
          </p:cNvPr>
          <p:cNvCxnSpPr>
            <a:cxnSpLocks/>
          </p:cNvCxnSpPr>
          <p:nvPr/>
        </p:nvCxnSpPr>
        <p:spPr>
          <a:xfrm flipH="1">
            <a:off x="10082853" y="4409984"/>
            <a:ext cx="170323" cy="463525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Овал 26">
            <a:extLst>
              <a:ext uri="{FF2B5EF4-FFF2-40B4-BE49-F238E27FC236}">
                <a16:creationId xmlns="" xmlns:a16="http://schemas.microsoft.com/office/drawing/2014/main" id="{BF14E59B-A8B5-450B-AB0E-F74E5E0EF843}"/>
              </a:ext>
            </a:extLst>
          </p:cNvPr>
          <p:cNvSpPr/>
          <p:nvPr/>
        </p:nvSpPr>
        <p:spPr>
          <a:xfrm>
            <a:off x="9891380" y="4846016"/>
            <a:ext cx="303744" cy="22780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90767" y="1602610"/>
            <a:ext cx="4767883" cy="30059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80981" indent="-380981">
              <a:lnSpc>
                <a:spcPct val="90000"/>
              </a:lnSpc>
              <a:spcBef>
                <a:spcPts val="800"/>
              </a:spcBef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ыравнивание и планировка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верхности 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частка рекультивации</a:t>
            </a:r>
          </a:p>
          <a:p>
            <a:pPr marL="380981" indent="-380981">
              <a:lnSpc>
                <a:spcPct val="90000"/>
              </a:lnSpc>
              <a:spcBef>
                <a:spcPts val="800"/>
              </a:spcBef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стройство системы сбора, обезвреживания и утилизации биогаза </a:t>
            </a:r>
          </a:p>
          <a:p>
            <a:pPr marL="380981" indent="-380981">
              <a:lnSpc>
                <a:spcPct val="90000"/>
              </a:lnSpc>
              <a:spcBef>
                <a:spcPts val="800"/>
              </a:spcBef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ероприятия по удалению фильтрата </a:t>
            </a:r>
          </a:p>
          <a:p>
            <a:pPr marL="380981" indent="-380981">
              <a:lnSpc>
                <a:spcPct val="90000"/>
              </a:lnSpc>
              <a:spcBef>
                <a:spcPts val="800"/>
              </a:spcBef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ормирование защитного экрана на поверхности карты с применение </a:t>
            </a:r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геосинтетических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материалов </a:t>
            </a:r>
          </a:p>
          <a:p>
            <a:pPr marL="380981" indent="-380981">
              <a:lnSpc>
                <a:spcPct val="90000"/>
              </a:lnSpc>
              <a:spcBef>
                <a:spcPts val="800"/>
              </a:spcBef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ормирование противофильтрационной </a:t>
            </a:r>
            <a:r>
              <a:rPr lang="en-US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авесы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ериметру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частка 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ахоронения</a:t>
            </a:r>
          </a:p>
        </p:txBody>
      </p:sp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88EA11BA-D320-4EFD-B3ED-370292A764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3198" y="164637"/>
            <a:ext cx="10673580" cy="785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2000" b="1" dirty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ЭТАПЫ РЕКУЛЬТИВАЦИИ</a:t>
            </a:r>
          </a:p>
        </p:txBody>
      </p:sp>
      <p:sp>
        <p:nvSpPr>
          <p:cNvPr id="34" name="Oval 33"/>
          <p:cNvSpPr/>
          <p:nvPr/>
        </p:nvSpPr>
        <p:spPr>
          <a:xfrm>
            <a:off x="813652" y="2205801"/>
            <a:ext cx="303744" cy="26146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en-US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813652" y="2785453"/>
            <a:ext cx="303744" cy="22780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en-US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813652" y="3159191"/>
            <a:ext cx="303744" cy="22780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en-US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3652" y="3952652"/>
            <a:ext cx="303744" cy="22780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en-US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TextBox 2"/>
          <p:cNvSpPr txBox="1">
            <a:spLocks noChangeArrowheads="1"/>
          </p:cNvSpPr>
          <p:nvPr/>
        </p:nvSpPr>
        <p:spPr bwMode="auto">
          <a:xfrm>
            <a:off x="1077521" y="1284558"/>
            <a:ext cx="3625343" cy="27779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47999" tIns="47999" rIns="47999" bIns="47999" anchor="ctr"/>
          <a:lstStyle>
            <a:defPPr>
              <a:defRPr lang="ru-RU"/>
            </a:defPPr>
            <a:lvl1pPr marL="265113">
              <a:defRPr b="1">
                <a:solidFill>
                  <a:schemeClr val="accent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sz="21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ехнический</a:t>
            </a:r>
          </a:p>
        </p:txBody>
      </p:sp>
      <p:pic>
        <p:nvPicPr>
          <p:cNvPr id="32" name="Рисунок 13"/>
          <p:cNvPicPr>
            <a:picLocks noChangeAspect="1" noChangeArrowheads="1"/>
          </p:cNvPicPr>
          <p:nvPr/>
        </p:nvPicPr>
        <p:blipFill>
          <a:blip r:embed="rId1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5"/>
          <a:stretch>
            <a:fillRect/>
          </a:stretch>
        </p:blipFill>
        <p:spPr bwMode="auto">
          <a:xfrm>
            <a:off x="191344" y="116635"/>
            <a:ext cx="86360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323211" y="6476368"/>
            <a:ext cx="2844800" cy="365125"/>
          </a:xfrm>
        </p:spPr>
        <p:txBody>
          <a:bodyPr/>
          <a:lstStyle/>
          <a:p>
            <a:fld id="{8BCAE78C-48F3-4E15-97DB-5F0DEAB0D077}" type="slidenum">
              <a:rPr lang="ru-RU" sz="16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fld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5888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1">
            <a:extLst>
              <a:ext uri="{FF2B5EF4-FFF2-40B4-BE49-F238E27FC236}">
                <a16:creationId xmlns:a16="http://schemas.microsoft.com/office/drawing/2014/main" xmlns="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  <p:sp>
        <p:nvSpPr>
          <p:cNvPr id="2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87614" y="6492876"/>
            <a:ext cx="404388" cy="365125"/>
          </a:xfrm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/>
            <a:fld id="{3E716BDD-ECB7-4C86-83A2-DDBB799AEF99}" type="slidenum">
              <a:rPr lang="ru-RU"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5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3"/>
          <p:cNvSpPr txBox="1">
            <a:spLocks noChangeArrowheads="1"/>
          </p:cNvSpPr>
          <p:nvPr/>
        </p:nvSpPr>
        <p:spPr bwMode="auto">
          <a:xfrm>
            <a:off x="1000015" y="404761"/>
            <a:ext cx="10710251" cy="400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8" tIns="45719" rIns="91438" bIns="45719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ЗАЩИТНЫЙ ЭКРАН</a:t>
            </a:r>
            <a:endParaRPr lang="ru-RU" altLang="ru-RU" sz="2000" b="1" dirty="0">
              <a:solidFill>
                <a:srgbClr val="A88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80094" y="1653570"/>
            <a:ext cx="65700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ЗАДАЧИ НЕПРОНИЦАЕМОГО ЗАЩИТНОГО ЭКРАНА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86" r="31058"/>
          <a:stretch/>
        </p:blipFill>
        <p:spPr>
          <a:xfrm>
            <a:off x="7808886" y="3927423"/>
            <a:ext cx="3901380" cy="255016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8886" y="1199822"/>
            <a:ext cx="3901380" cy="2568222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000015" y="2839530"/>
            <a:ext cx="6570018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ограничение проникновения атмосферных осадков в тело полигона, влияющих </a:t>
            </a:r>
            <a:b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</a:b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на образование фильтрата;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наиболее полного сбора </a:t>
            </a:r>
            <a:b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утилизации свалочного газа;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репление склонов и обеспечение условий формирования почвенно-растительного покрова.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74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1">
            <a:extLst>
              <a:ext uri="{FF2B5EF4-FFF2-40B4-BE49-F238E27FC236}">
                <a16:creationId xmlns:a16="http://schemas.microsoft.com/office/drawing/2014/main" xmlns="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  <p:sp>
        <p:nvSpPr>
          <p:cNvPr id="2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87614" y="6492876"/>
            <a:ext cx="404388" cy="365125"/>
          </a:xfrm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/>
            <a:fld id="{3E716BDD-ECB7-4C86-83A2-DDBB799AEF99}" type="slidenum">
              <a:rPr lang="ru-RU"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6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3"/>
          <p:cNvSpPr txBox="1">
            <a:spLocks noChangeArrowheads="1"/>
          </p:cNvSpPr>
          <p:nvPr/>
        </p:nvSpPr>
        <p:spPr bwMode="auto">
          <a:xfrm>
            <a:off x="889947" y="201088"/>
            <a:ext cx="10710251" cy="400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8" tIns="45719" rIns="91438" bIns="45719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rPr>
              <a:t>СИСТЕМА СБОРА И ОЧИСТКИ СВАЛОЧНОГО ГАЗА</a:t>
            </a:r>
            <a:endParaRPr lang="ru-RU" altLang="ru-RU" sz="2000" b="1" dirty="0">
              <a:solidFill>
                <a:srgbClr val="A88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89947" y="1097422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ЗАДАЧИ СИСТЕМЫ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51" name="Picture 3" descr="image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541" y="3503881"/>
            <a:ext cx="2636592" cy="3020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540" y="1007227"/>
            <a:ext cx="4071658" cy="2328333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1000015" y="1559087"/>
            <a:ext cx="6096000" cy="2354491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контроль миграции свалочного газа за пределы тела полигона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еньшение риска </a:t>
            </a:r>
            <a:r>
              <a:rPr lang="ru-RU" sz="220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жароопасности</a:t>
            </a:r>
            <a:r>
              <a:rPr lang="ru-RU" sz="2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взрывоопасности;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ение неприятного запаха;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е состояния атмосферного воздуха.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0015" y="4229257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ТИПЫ СИСТЕМЫ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134926" y="4734342"/>
            <a:ext cx="6096000" cy="16004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ссивная (</a:t>
            </a:r>
            <a:r>
              <a:rPr lang="ru-RU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азовыпуски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ктивная (сжигание в факеле, закрытое </a:t>
            </a:r>
            <a:r>
              <a:rPr lang="ru-RU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сфакельное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безвреживание биогаза);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бинированная.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889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1">
            <a:extLst>
              <a:ext uri="{FF2B5EF4-FFF2-40B4-BE49-F238E27FC236}">
                <a16:creationId xmlns:a16="http://schemas.microsoft.com/office/drawing/2014/main" xmlns="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  <p:sp>
        <p:nvSpPr>
          <p:cNvPr id="24" name="Rectangle 3"/>
          <p:cNvSpPr txBox="1">
            <a:spLocks noChangeArrowheads="1"/>
          </p:cNvSpPr>
          <p:nvPr/>
        </p:nvSpPr>
        <p:spPr bwMode="auto">
          <a:xfrm>
            <a:off x="1000014" y="853534"/>
            <a:ext cx="10646875" cy="430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>
            <a:defPPr>
              <a:defRPr lang="ru-RU"/>
            </a:defPPr>
            <a:lvl1pPr algn="ctr">
              <a:defRPr sz="2000" b="1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СВАЛКА НА 13 КМ БЕЖЕЦКОГО ШОССЕ КАЛИНИНСКОГО РАЙОНА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85" t="9580" r="7538"/>
          <a:stretch/>
        </p:blipFill>
        <p:spPr>
          <a:xfrm>
            <a:off x="700605" y="2464907"/>
            <a:ext cx="6344530" cy="3797360"/>
          </a:xfrm>
          <a:prstGeom prst="rect">
            <a:avLst/>
          </a:prstGeom>
        </p:spPr>
      </p:pic>
      <p:sp>
        <p:nvSpPr>
          <p:cNvPr id="2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87614" y="6492876"/>
            <a:ext cx="404388" cy="365125"/>
          </a:xfrm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/>
            <a:fld id="{3E716BDD-ECB7-4C86-83A2-DDBB799AEF99}" type="slidenum">
              <a:rPr lang="ru-RU"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7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5338297"/>
              </p:ext>
            </p:extLst>
          </p:nvPr>
        </p:nvGraphicFramePr>
        <p:xfrm>
          <a:off x="7678219" y="5474973"/>
          <a:ext cx="3340447" cy="6571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0447"/>
              </a:tblGrid>
              <a:tr h="65716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реализации</a:t>
                      </a:r>
                      <a:r>
                        <a:rPr lang="ru-RU" sz="1800" b="1" u="none" strike="noStrik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</a:t>
                      </a: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 –</a:t>
                      </a:r>
                      <a:r>
                        <a:rPr lang="ru-RU" sz="2400" b="1" u="none" strike="noStrike" baseline="0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23 годы</a:t>
                      </a:r>
                      <a:endParaRPr lang="ru-RU" sz="2400" b="1" u="none" strike="noStrike" dirty="0" smtClean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7" marR="6587" marT="6587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023528"/>
              </p:ext>
            </p:extLst>
          </p:nvPr>
        </p:nvGraphicFramePr>
        <p:xfrm>
          <a:off x="1082397" y="1439962"/>
          <a:ext cx="5451481" cy="6748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51481"/>
              </a:tblGrid>
              <a:tr h="67482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алка</a:t>
                      </a:r>
                      <a:r>
                        <a:rPr lang="ru-RU" sz="1800" b="1" u="none" strike="noStrik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е </a:t>
                      </a:r>
                      <a:r>
                        <a:rPr lang="ru-RU" sz="1800" b="1" u="none" strike="noStrik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сплуатируется </a:t>
                      </a:r>
                      <a:endParaRPr lang="ru-RU" sz="1800" b="1" u="none" strike="noStrike" baseline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</a:t>
                      </a:r>
                      <a:r>
                        <a:rPr lang="ru-RU" sz="1800" baseline="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ентября </a:t>
                      </a:r>
                      <a:r>
                        <a:rPr lang="ru-RU" sz="180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а</a:t>
                      </a:r>
                      <a:endParaRPr lang="ru-RU" sz="1800" b="0" u="none" strike="noStrike" dirty="0" smtClean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7" marR="6587" marT="6587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8102936" y="4189101"/>
            <a:ext cx="2457148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defRPr/>
            </a:pPr>
            <a:r>
              <a:rPr lang="ru-RU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оимость: </a:t>
            </a:r>
            <a: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, 1 млрд рублей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21" t="7901" r="14691" b="22346"/>
          <a:stretch/>
        </p:blipFill>
        <p:spPr>
          <a:xfrm>
            <a:off x="9069043" y="3683862"/>
            <a:ext cx="524934" cy="515805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19" t="4197" r="8889" b="18025"/>
          <a:stretch/>
        </p:blipFill>
        <p:spPr>
          <a:xfrm>
            <a:off x="9096701" y="4964758"/>
            <a:ext cx="503484" cy="474133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7442538" y="2846691"/>
            <a:ext cx="3811814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defRPr/>
            </a:pPr>
            <a:r>
              <a:rPr lang="ru-RU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накопленных отходов:</a:t>
            </a:r>
            <a: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093,84 тыс. м3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935639" y="1639418"/>
            <a:ext cx="2323264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defRPr/>
            </a:pPr>
            <a:r>
              <a:rPr lang="ru-RU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емельный участок:</a:t>
            </a:r>
          </a:p>
          <a:p>
            <a:pPr lvl="0" algn="ctr" fontAlgn="ctr">
              <a:defRPr/>
            </a:pPr>
            <a:r>
              <a:rPr lang="ru-RU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</a:t>
            </a:r>
            <a:r>
              <a:rPr lang="ru-RU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,7 га</a:t>
            </a:r>
            <a:endParaRPr lang="ru-RU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3"/>
          <p:cNvSpPr txBox="1">
            <a:spLocks noChangeArrowheads="1"/>
          </p:cNvSpPr>
          <p:nvPr/>
        </p:nvSpPr>
        <p:spPr bwMode="auto">
          <a:xfrm>
            <a:off x="2262503" y="249107"/>
            <a:ext cx="8646641" cy="430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altLang="ru-RU" sz="2000" b="1" dirty="0">
                <a:solidFill>
                  <a:srgbClr val="A88000"/>
                </a:solidFill>
                <a:latin typeface="Times New Roman" panose="02020603050405020304" pitchFamily="18" charset="0"/>
                <a:cs typeface="Times New Roman" pitchFamily="18" charset="0"/>
              </a:rPr>
              <a:t>РЕГИОНАЛЬНЫЙ ПРОЕКТ </a:t>
            </a:r>
            <a:r>
              <a:rPr lang="ru-RU" altLang="ru-RU" sz="2000" b="1" dirty="0" smtClean="0">
                <a:solidFill>
                  <a:srgbClr val="A88000"/>
                </a:solidFill>
                <a:latin typeface="Times New Roman" panose="02020603050405020304" pitchFamily="18" charset="0"/>
                <a:cs typeface="Times New Roman" pitchFamily="18" charset="0"/>
              </a:rPr>
              <a:t>«ОЗДОРОВЛЕНИЕ ВОЛГИ»</a:t>
            </a:r>
            <a:endParaRPr lang="ru-RU" altLang="ru-RU" sz="2000" b="1" dirty="0">
              <a:solidFill>
                <a:srgbClr val="A88000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8029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1">
            <a:extLst>
              <a:ext uri="{FF2B5EF4-FFF2-40B4-BE49-F238E27FC236}">
                <a16:creationId xmlns:a16="http://schemas.microsoft.com/office/drawing/2014/main" xmlns="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  <p:sp>
        <p:nvSpPr>
          <p:cNvPr id="2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87614" y="6492876"/>
            <a:ext cx="404388" cy="365125"/>
          </a:xfrm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/>
            <a:fld id="{3E716BDD-ECB7-4C86-83A2-DDBB799AEF99}" type="slidenum">
              <a:rPr lang="ru-RU"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8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655376"/>
              </p:ext>
            </p:extLst>
          </p:nvPr>
        </p:nvGraphicFramePr>
        <p:xfrm>
          <a:off x="7669752" y="5288699"/>
          <a:ext cx="3340447" cy="6571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0447"/>
              </a:tblGrid>
              <a:tr h="65716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реализации</a:t>
                      </a:r>
                      <a:r>
                        <a:rPr lang="ru-RU" sz="1800" b="1" u="none" strike="noStrik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</a:t>
                      </a: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–</a:t>
                      </a:r>
                      <a:r>
                        <a:rPr lang="ru-RU" sz="2400" b="1" u="none" strike="noStrike" baseline="0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21 годы</a:t>
                      </a:r>
                      <a:endParaRPr lang="ru-RU" sz="2400" b="1" u="none" strike="noStrike" dirty="0" smtClean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7" marR="6587" marT="6587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148884"/>
              </p:ext>
            </p:extLst>
          </p:nvPr>
        </p:nvGraphicFramePr>
        <p:xfrm>
          <a:off x="1082397" y="1533099"/>
          <a:ext cx="5451481" cy="6748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51481"/>
              </a:tblGrid>
              <a:tr h="67482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алка</a:t>
                      </a:r>
                      <a:r>
                        <a:rPr lang="ru-RU" sz="1800" b="1" u="none" strike="noStrik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е эксплуатируется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декабря 2018 года</a:t>
                      </a:r>
                      <a:endParaRPr lang="ru-RU" sz="1800" b="0" u="none" strike="noStrike" dirty="0" smtClean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7" marR="6587" marT="6587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7683684" y="4002827"/>
            <a:ext cx="3278718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defRPr/>
            </a:pPr>
            <a:r>
              <a:rPr lang="ru-RU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оимость: </a:t>
            </a:r>
            <a: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4 959,55 тыс. рублей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21" t="7901" r="14691" b="22346"/>
          <a:stretch/>
        </p:blipFill>
        <p:spPr>
          <a:xfrm>
            <a:off x="9060576" y="3497588"/>
            <a:ext cx="524934" cy="515805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19" t="4197" r="8889" b="18025"/>
          <a:stretch/>
        </p:blipFill>
        <p:spPr>
          <a:xfrm>
            <a:off x="9088234" y="4778484"/>
            <a:ext cx="503484" cy="474133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7434071" y="2660417"/>
            <a:ext cx="3811814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defRPr/>
            </a:pPr>
            <a:r>
              <a:rPr lang="ru-RU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накопленных отходов:</a:t>
            </a:r>
            <a: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25,5 </a:t>
            </a:r>
            <a:r>
              <a:rPr lang="ru-RU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м3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927172" y="1571675"/>
            <a:ext cx="2323264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defRPr/>
            </a:pPr>
            <a:r>
              <a:rPr lang="ru-RU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емельный участок:</a:t>
            </a:r>
          </a:p>
          <a:p>
            <a:pPr algn="ctr" fontAlgn="ctr">
              <a:defRPr/>
            </a:pP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</a:t>
            </a:r>
            <a:r>
              <a:rPr lang="ru-RU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,7 га</a:t>
            </a:r>
            <a:endParaRPr lang="ru-RU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7" t="15467" r="2512" b="8359"/>
          <a:stretch/>
        </p:blipFill>
        <p:spPr>
          <a:xfrm>
            <a:off x="1063220" y="2454160"/>
            <a:ext cx="5952714" cy="3327977"/>
          </a:xfrm>
          <a:prstGeom prst="rect">
            <a:avLst/>
          </a:prstGeom>
        </p:spPr>
      </p:pic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1000015" y="858615"/>
            <a:ext cx="10646875" cy="430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>
            <a:defPPr>
              <a:defRPr lang="ru-RU"/>
            </a:defPPr>
            <a:lvl1pPr algn="ctr">
              <a:defRPr sz="2000" b="1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СВАЛКА В ГОРОДЕ  КИМРЫ ТВЕРСКОЙ </a:t>
            </a:r>
            <a:r>
              <a:rPr lang="ru-RU" dirty="0">
                <a:solidFill>
                  <a:schemeClr val="tx1"/>
                </a:solidFill>
              </a:rPr>
              <a:t>ОБЛАСТИ </a:t>
            </a:r>
          </a:p>
        </p:txBody>
      </p:sp>
      <p:sp>
        <p:nvSpPr>
          <p:cNvPr id="15" name="TextBox 13"/>
          <p:cNvSpPr txBox="1">
            <a:spLocks noChangeArrowheads="1"/>
          </p:cNvSpPr>
          <p:nvPr/>
        </p:nvSpPr>
        <p:spPr bwMode="auto">
          <a:xfrm>
            <a:off x="2262503" y="249107"/>
            <a:ext cx="8646641" cy="430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altLang="ru-RU" sz="2000" b="1" dirty="0">
                <a:solidFill>
                  <a:srgbClr val="A88000"/>
                </a:solidFill>
                <a:latin typeface="Times New Roman" panose="02020603050405020304" pitchFamily="18" charset="0"/>
                <a:cs typeface="Times New Roman" pitchFamily="18" charset="0"/>
              </a:rPr>
              <a:t>РЕГИОНАЛЬНЫЙ ПРОЕКТ </a:t>
            </a:r>
            <a:r>
              <a:rPr lang="ru-RU" altLang="ru-RU" sz="2000" b="1" dirty="0" smtClean="0">
                <a:solidFill>
                  <a:srgbClr val="A88000"/>
                </a:solidFill>
                <a:latin typeface="Times New Roman" panose="02020603050405020304" pitchFamily="18" charset="0"/>
                <a:cs typeface="Times New Roman" pitchFamily="18" charset="0"/>
              </a:rPr>
              <a:t>«ЧИСТАЯ СТРАНА»</a:t>
            </a:r>
            <a:endParaRPr lang="ru-RU" altLang="ru-RU" sz="2000" b="1" dirty="0">
              <a:solidFill>
                <a:srgbClr val="A88000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19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1">
            <a:extLst>
              <a:ext uri="{FF2B5EF4-FFF2-40B4-BE49-F238E27FC236}">
                <a16:creationId xmlns:a16="http://schemas.microsoft.com/office/drawing/2014/main" xmlns="" id="{206C179F-A583-4FA3-978D-FF4469E38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244015" y="135574"/>
            <a:ext cx="756000" cy="938483"/>
          </a:xfrm>
          <a:prstGeom prst="rect">
            <a:avLst/>
          </a:prstGeom>
          <a:noFill/>
        </p:spPr>
      </p:pic>
      <p:sp>
        <p:nvSpPr>
          <p:cNvPr id="2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87614" y="6492876"/>
            <a:ext cx="404388" cy="365125"/>
          </a:xfrm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/>
            <a:fld id="{3E716BDD-ECB7-4C86-83A2-DDBB799AEF99}" type="slidenum">
              <a:rPr lang="ru-RU"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9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522482"/>
              </p:ext>
            </p:extLst>
          </p:nvPr>
        </p:nvGraphicFramePr>
        <p:xfrm>
          <a:off x="7669752" y="5322567"/>
          <a:ext cx="3340447" cy="6571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0447"/>
              </a:tblGrid>
              <a:tr h="65716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реализации</a:t>
                      </a:r>
                      <a:r>
                        <a:rPr lang="ru-RU" sz="1800" b="1" u="none" strike="noStrik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</a:t>
                      </a: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–</a:t>
                      </a:r>
                      <a:r>
                        <a:rPr lang="ru-RU" sz="2400" b="1" u="none" strike="noStrike" baseline="0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21 годы</a:t>
                      </a:r>
                      <a:endParaRPr lang="ru-RU" sz="2400" b="1" u="none" strike="noStrike" dirty="0" smtClean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7" marR="6587" marT="6587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764389"/>
              </p:ext>
            </p:extLst>
          </p:nvPr>
        </p:nvGraphicFramePr>
        <p:xfrm>
          <a:off x="1000015" y="1539742"/>
          <a:ext cx="5771260" cy="6748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71260"/>
              </a:tblGrid>
              <a:tr h="67482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алка</a:t>
                      </a:r>
                      <a:r>
                        <a:rPr lang="ru-RU" sz="1800" b="1" u="none" strike="noStrik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е эксплуатируется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января 2019 года</a:t>
                      </a:r>
                      <a:endParaRPr lang="ru-RU" sz="1800" dirty="0" smtClean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7" marR="6587" marT="6587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7645212" y="4036695"/>
            <a:ext cx="335566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defRPr/>
            </a:pPr>
            <a: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оимость по </a:t>
            </a:r>
            <a:r>
              <a:rPr lang="ru-RU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у: </a:t>
            </a:r>
            <a: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7 814,09 тыс. рублей 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21" t="7901" r="14691" b="22346"/>
          <a:stretch/>
        </p:blipFill>
        <p:spPr>
          <a:xfrm>
            <a:off x="9060576" y="3531456"/>
            <a:ext cx="524934" cy="515805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19" t="4197" r="8889" b="18025"/>
          <a:stretch/>
        </p:blipFill>
        <p:spPr>
          <a:xfrm>
            <a:off x="9088234" y="4812352"/>
            <a:ext cx="503484" cy="474133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7434071" y="2694285"/>
            <a:ext cx="3811814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defRPr/>
            </a:pPr>
            <a:r>
              <a:rPr lang="ru-RU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накопленных отходов:</a:t>
            </a:r>
            <a: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8,0 </a:t>
            </a:r>
            <a:r>
              <a:rPr lang="ru-RU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м3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8088039" y="1571675"/>
            <a:ext cx="232326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>
              <a:defRPr/>
            </a:pPr>
            <a:r>
              <a:rPr lang="ru-RU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емельный участок:</a:t>
            </a:r>
          </a:p>
          <a:p>
            <a:pPr lvl="0" algn="ctr" fontAlgn="ctr">
              <a:defRPr/>
            </a:pPr>
            <a:r>
              <a:rPr lang="ru-RU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</a:t>
            </a:r>
            <a:r>
              <a:rPr lang="ru-RU" sz="2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,3 га</a:t>
            </a:r>
            <a:endParaRPr lang="ru-RU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962138" y="915956"/>
            <a:ext cx="10646875" cy="430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>
            <a:defPPr>
              <a:defRPr lang="ru-RU"/>
            </a:defPPr>
            <a:lvl1pPr algn="ctr">
              <a:defRPr sz="2000" b="1">
                <a:solidFill>
                  <a:srgbClr val="A88000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dirty="0" smtClean="0">
                <a:solidFill>
                  <a:schemeClr val="tx1"/>
                </a:solidFill>
              </a:rPr>
              <a:t>СВАЛКА В ГОРОДЕ НЕЛИДОВО ТВЕРСКОЙ </a:t>
            </a:r>
            <a:r>
              <a:rPr lang="ru-RU" dirty="0">
                <a:solidFill>
                  <a:schemeClr val="tx1"/>
                </a:solidFill>
              </a:rPr>
              <a:t>ОБЛАСТИ 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32" r="6223" b="8760"/>
          <a:stretch/>
        </p:blipFill>
        <p:spPr>
          <a:xfrm>
            <a:off x="915066" y="2657206"/>
            <a:ext cx="6290412" cy="3330606"/>
          </a:xfrm>
          <a:prstGeom prst="rect">
            <a:avLst/>
          </a:prstGeom>
        </p:spPr>
      </p:pic>
      <p:sp>
        <p:nvSpPr>
          <p:cNvPr id="13" name="TextBox 13"/>
          <p:cNvSpPr txBox="1">
            <a:spLocks noChangeArrowheads="1"/>
          </p:cNvSpPr>
          <p:nvPr/>
        </p:nvSpPr>
        <p:spPr bwMode="auto">
          <a:xfrm>
            <a:off x="2262503" y="249107"/>
            <a:ext cx="8646641" cy="430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altLang="ru-RU" sz="2000" b="1" dirty="0">
                <a:solidFill>
                  <a:srgbClr val="A88000"/>
                </a:solidFill>
                <a:latin typeface="Times New Roman" panose="02020603050405020304" pitchFamily="18" charset="0"/>
                <a:cs typeface="Times New Roman" pitchFamily="18" charset="0"/>
              </a:rPr>
              <a:t>РЕГИОНАЛЬНЫЙ ПРОЕКТ </a:t>
            </a:r>
            <a:r>
              <a:rPr lang="ru-RU" altLang="ru-RU" sz="2000" b="1" dirty="0" smtClean="0">
                <a:solidFill>
                  <a:srgbClr val="A88000"/>
                </a:solidFill>
                <a:latin typeface="Times New Roman" panose="02020603050405020304" pitchFamily="18" charset="0"/>
                <a:cs typeface="Times New Roman" pitchFamily="18" charset="0"/>
              </a:rPr>
              <a:t>«ЧИСТАЯ СТРАНА»</a:t>
            </a:r>
            <a:endParaRPr lang="ru-RU" altLang="ru-RU" sz="2000" b="1" dirty="0">
              <a:solidFill>
                <a:srgbClr val="A88000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640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1vdctuTfSJJ_UuOzDSG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90</TotalTime>
  <Words>738</Words>
  <Application>Microsoft Office PowerPoint</Application>
  <PresentationFormat>Произвольный</PresentationFormat>
  <Paragraphs>289</Paragraphs>
  <Slides>13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цык И.А.</dc:creator>
  <cp:lastModifiedBy>Лактионов</cp:lastModifiedBy>
  <cp:revision>532</cp:revision>
  <cp:lastPrinted>2020-02-12T12:45:39Z</cp:lastPrinted>
  <dcterms:created xsi:type="dcterms:W3CDTF">2019-06-20T12:36:52Z</dcterms:created>
  <dcterms:modified xsi:type="dcterms:W3CDTF">2020-09-03T12:31:10Z</dcterms:modified>
</cp:coreProperties>
</file>